
<file path=[Content_Types].xml><?xml version="1.0" encoding="utf-8"?>
<Types xmlns="http://schemas.openxmlformats.org/package/2006/content-types"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16.xml" ContentType="application/vnd.openxmlformats-officedocument.presentationml.notesSl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52" r:id="rId1"/>
  </p:sldMasterIdLst>
  <p:notesMasterIdLst>
    <p:notesMasterId r:id="rId33"/>
  </p:notesMasterIdLst>
  <p:sldIdLst>
    <p:sldId id="256" r:id="rId2"/>
    <p:sldId id="2147481623" r:id="rId3"/>
    <p:sldId id="257" r:id="rId4"/>
    <p:sldId id="2147481643" r:id="rId5"/>
    <p:sldId id="258" r:id="rId6"/>
    <p:sldId id="2147481644" r:id="rId7"/>
    <p:sldId id="259" r:id="rId8"/>
    <p:sldId id="2147481654" r:id="rId9"/>
    <p:sldId id="2147481657" r:id="rId10"/>
    <p:sldId id="2147481658" r:id="rId11"/>
    <p:sldId id="2147481645" r:id="rId12"/>
    <p:sldId id="2147481653" r:id="rId13"/>
    <p:sldId id="2147481646" r:id="rId14"/>
    <p:sldId id="2147481659" r:id="rId15"/>
    <p:sldId id="2147481660" r:id="rId16"/>
    <p:sldId id="2147481647" r:id="rId17"/>
    <p:sldId id="2147481631" r:id="rId18"/>
    <p:sldId id="2147481661" r:id="rId19"/>
    <p:sldId id="2147481662" r:id="rId20"/>
    <p:sldId id="2147481648" r:id="rId21"/>
    <p:sldId id="2147481633" r:id="rId22"/>
    <p:sldId id="2147481649" r:id="rId23"/>
    <p:sldId id="2147481665" r:id="rId24"/>
    <p:sldId id="2147481666" r:id="rId25"/>
    <p:sldId id="2147481650" r:id="rId26"/>
    <p:sldId id="2147481638" r:id="rId27"/>
    <p:sldId id="2147481651" r:id="rId28"/>
    <p:sldId id="261" r:id="rId29"/>
    <p:sldId id="2147481652" r:id="rId30"/>
    <p:sldId id="2147481664" r:id="rId31"/>
    <p:sldId id="262" r:id="rId32"/>
  </p:sldIdLst>
  <p:sldSz cx="9144000" cy="5143500" type="screen16x9"/>
  <p:notesSz cx="6858000" cy="9144000"/>
  <p:embeddedFontLst>
    <p:embeddedFont>
      <p:font typeface="Cambria Math" panose="02040503050406030204" pitchFamily="18" charset="0"/>
      <p:regular r:id="rId34"/>
    </p:embeddedFont>
    <p:embeddedFont>
      <p:font typeface="Catamaran" panose="020B0604020202020204" charset="0"/>
      <p:regular r:id="rId35"/>
      <p:bold r:id="rId36"/>
    </p:embeddedFont>
    <p:embeddedFont>
      <p:font typeface="Consolas" panose="020B0609020204030204" pitchFamily="49" charset="0"/>
      <p:regular r:id="rId37"/>
      <p:bold r:id="rId38"/>
      <p:italic r:id="rId39"/>
      <p:boldItalic r:id="rId40"/>
    </p:embeddedFont>
    <p:embeddedFont>
      <p:font typeface="Raleway" pitchFamily="2" charset="-52"/>
      <p:regular r:id="rId41"/>
      <p:bold r:id="rId42"/>
      <p:italic r:id="rId43"/>
      <p:boldItalic r:id="rId44"/>
    </p:embeddedFont>
    <p:embeddedFont>
      <p:font typeface="Segoe UI" panose="020B0502040204020203" pitchFamily="34" charset="0"/>
      <p:regular r:id="rId45"/>
      <p:bold r:id="rId46"/>
      <p:italic r:id="rId47"/>
      <p:boldItalic r:id="rId48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D050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99" autoAdjust="0"/>
    <p:restoredTop sz="95711" autoAdjust="0"/>
  </p:normalViewPr>
  <p:slideViewPr>
    <p:cSldViewPr snapToGrid="0">
      <p:cViewPr varScale="1">
        <p:scale>
          <a:sx n="122" d="100"/>
          <a:sy n="122" d="100"/>
        </p:scale>
        <p:origin x="274" y="8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6.fntdata"/><Relationship Id="rId21" Type="http://schemas.openxmlformats.org/officeDocument/2006/relationships/slide" Target="slides/slide20.xml"/><Relationship Id="rId34" Type="http://schemas.openxmlformats.org/officeDocument/2006/relationships/font" Target="fonts/font1.fntdata"/><Relationship Id="rId42" Type="http://schemas.openxmlformats.org/officeDocument/2006/relationships/font" Target="fonts/font9.fntdata"/><Relationship Id="rId47" Type="http://schemas.openxmlformats.org/officeDocument/2006/relationships/font" Target="fonts/font14.fntdata"/><Relationship Id="rId50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font" Target="fonts/font4.fntdata"/><Relationship Id="rId40" Type="http://schemas.openxmlformats.org/officeDocument/2006/relationships/font" Target="fonts/font7.fntdata"/><Relationship Id="rId45" Type="http://schemas.openxmlformats.org/officeDocument/2006/relationships/font" Target="fonts/font12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3.fntdata"/><Relationship Id="rId49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font" Target="fonts/font11.fntdata"/><Relationship Id="rId52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font" Target="fonts/font2.fntdata"/><Relationship Id="rId43" Type="http://schemas.openxmlformats.org/officeDocument/2006/relationships/font" Target="fonts/font10.fntdata"/><Relationship Id="rId48" Type="http://schemas.openxmlformats.org/officeDocument/2006/relationships/font" Target="fonts/font15.fntdata"/><Relationship Id="rId8" Type="http://schemas.openxmlformats.org/officeDocument/2006/relationships/slide" Target="slides/slide7.xml"/><Relationship Id="rId51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font" Target="fonts/font5.fntdata"/><Relationship Id="rId46" Type="http://schemas.openxmlformats.org/officeDocument/2006/relationships/font" Target="fonts/font13.fntdata"/><Relationship Id="rId20" Type="http://schemas.openxmlformats.org/officeDocument/2006/relationships/slide" Target="slides/slide19.xml"/><Relationship Id="rId41" Type="http://schemas.openxmlformats.org/officeDocument/2006/relationships/font" Target="fonts/font8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1" name="Google Shape;61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g318aed68a47_0_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6" name="Google Shape;86;g318aed68a47_0_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948252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31e21e8d21c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31e21e8d21c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3989348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g318aed68a47_0_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6" name="Google Shape;86;g318aed68a47_0_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2512504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31e21e8d21c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31e21e8d21c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042500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g318aed68a47_0_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6" name="Google Shape;86;g318aed68a47_0_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4061859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g318aed68a47_0_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6" name="Google Shape;86;g318aed68a47_0_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2259335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31e21e8d21c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31e21e8d21c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1104769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g318aed68a47_0_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6" name="Google Shape;86;g318aed68a47_0_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4840457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g318aed68a47_0_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6" name="Google Shape;86;g318aed68a47_0_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9499041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g318aed68a47_0_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6" name="Google Shape;86;g318aed68a47_0_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635902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31e21e8d21c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31e21e8d21c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0661774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31e21e8d21c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31e21e8d21c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38933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g318aed68a47_0_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6" name="Google Shape;86;g318aed68a47_0_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8842589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31e21e8d21c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31e21e8d21c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1411952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g318aed68a47_0_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6" name="Google Shape;86;g318aed68a47_0_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2110749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g318aed68a47_0_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6" name="Google Shape;86;g318aed68a47_0_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4334424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31e21e8d21c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31e21e8d21c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51869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g318aed68a47_0_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6" name="Google Shape;86;g318aed68a47_0_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806607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31e21e8d21c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31e21e8d21c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0905259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g319417f79bf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8" name="Google Shape;108;g319417f79bf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31e21e8d21c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31e21e8d21c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76804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31e21e8d21c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31e21e8d21c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g319417f79bf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8" name="Google Shape;108;g319417f79bf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8012408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95670f63ae_0_3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95670f63ae_0_31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31e21e8d21c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31e21e8d21c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46000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g12ade092b4f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6" name="Google Shape;76;g12ade092b4f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31e21e8d21c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Google Shape;68;g31e21e8d21c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620821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g318aed68a47_0_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6" name="Google Shape;86;g318aed68a47_0_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g318aed68a47_0_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6" name="Google Shape;86;g318aed68a47_0_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694574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g318aed68a47_0_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6" name="Google Shape;86;g318aed68a47_0_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111579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bg>
      <p:bgPr>
        <a:solidFill>
          <a:schemeClr val="lt2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/>
          <p:nvPr/>
        </p:nvSpPr>
        <p:spPr>
          <a:xfrm>
            <a:off x="0" y="0"/>
            <a:ext cx="9144000" cy="4878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ctrTitle"/>
          </p:nvPr>
        </p:nvSpPr>
        <p:spPr>
          <a:xfrm>
            <a:off x="729450" y="1322450"/>
            <a:ext cx="7688100" cy="166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Font typeface="Catamaran"/>
              <a:buNone/>
              <a:defRPr sz="4200">
                <a:solidFill>
                  <a:schemeClr val="dk2"/>
                </a:solidFill>
                <a:latin typeface="Catamaran"/>
                <a:ea typeface="Catamaran"/>
                <a:cs typeface="Catamaran"/>
                <a:sym typeface="Catamaran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None/>
              <a:defRPr sz="4200">
                <a:solidFill>
                  <a:schemeClr val="dk2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None/>
              <a:defRPr sz="4200">
                <a:solidFill>
                  <a:schemeClr val="dk2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None/>
              <a:defRPr sz="4200">
                <a:solidFill>
                  <a:schemeClr val="dk2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None/>
              <a:defRPr sz="4200">
                <a:solidFill>
                  <a:schemeClr val="dk2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None/>
              <a:defRPr sz="4200">
                <a:solidFill>
                  <a:schemeClr val="dk2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None/>
              <a:defRPr sz="4200">
                <a:solidFill>
                  <a:schemeClr val="dk2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None/>
              <a:defRPr sz="4200">
                <a:solidFill>
                  <a:schemeClr val="dk2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None/>
              <a:defRPr sz="42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ubTitle" idx="1"/>
          </p:nvPr>
        </p:nvSpPr>
        <p:spPr>
          <a:xfrm>
            <a:off x="729627" y="3172900"/>
            <a:ext cx="7688100" cy="541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Catamaran"/>
              <a:buNone/>
              <a:defRPr sz="1600">
                <a:latin typeface="Catamaran"/>
                <a:ea typeface="Catamaran"/>
                <a:cs typeface="Catamaran"/>
                <a:sym typeface="Catamaran"/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/>
              <a:t>‹#›</a:t>
            </a:fld>
            <a:endParaRPr/>
          </a:p>
        </p:txBody>
      </p:sp>
      <p:pic>
        <p:nvPicPr>
          <p:cNvPr id="14" name="Google Shape;14;p2"/>
          <p:cNvPicPr preferRelativeResize="0"/>
          <p:nvPr/>
        </p:nvPicPr>
        <p:blipFill>
          <a:blip r:embed="rId2">
            <a:alphaModFix amt="25000"/>
          </a:blip>
          <a:stretch>
            <a:fillRect/>
          </a:stretch>
        </p:blipFill>
        <p:spPr>
          <a:xfrm>
            <a:off x="6259425" y="2453225"/>
            <a:ext cx="2884575" cy="2690199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Google Shape;15;p2"/>
          <p:cNvSpPr/>
          <p:nvPr/>
        </p:nvSpPr>
        <p:spPr>
          <a:xfrm>
            <a:off x="830400" y="1170063"/>
            <a:ext cx="548700" cy="88200"/>
          </a:xfrm>
          <a:prstGeom prst="rect">
            <a:avLst/>
          </a:prstGeom>
          <a:solidFill>
            <a:srgbClr val="00677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" name="Google Shape;16;p2"/>
          <p:cNvSpPr/>
          <p:nvPr/>
        </p:nvSpPr>
        <p:spPr>
          <a:xfrm>
            <a:off x="1379100" y="1170063"/>
            <a:ext cx="548700" cy="88200"/>
          </a:xfrm>
          <a:prstGeom prst="rect">
            <a:avLst/>
          </a:prstGeom>
          <a:solidFill>
            <a:srgbClr val="6F0A1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>
  <p:cSld name="TITLE_1">
    <p:bg>
      <p:bgPr>
        <a:solidFill>
          <a:schemeClr val="lt2"/>
        </a:solidFill>
        <a:effectLst/>
      </p:bgPr>
    </p:bg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"/>
          <p:cNvSpPr/>
          <p:nvPr/>
        </p:nvSpPr>
        <p:spPr>
          <a:xfrm>
            <a:off x="0" y="0"/>
            <a:ext cx="9144000" cy="4878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" name="Google Shape;19;p3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/>
              <a:t>‹#›</a:t>
            </a:fld>
            <a:endParaRPr/>
          </a:p>
        </p:txBody>
      </p:sp>
      <p:sp>
        <p:nvSpPr>
          <p:cNvPr id="20" name="Google Shape;20;p3"/>
          <p:cNvSpPr txBox="1"/>
          <p:nvPr/>
        </p:nvSpPr>
        <p:spPr>
          <a:xfrm>
            <a:off x="347725" y="1983300"/>
            <a:ext cx="923700" cy="84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it" sz="4800">
                <a:latin typeface="Raleway"/>
                <a:ea typeface="Raleway"/>
                <a:cs typeface="Raleway"/>
                <a:sym typeface="Raleway"/>
              </a:rPr>
              <a:t>1</a:t>
            </a:r>
            <a:endParaRPr sz="48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1" name="Google Shape;21;p3"/>
          <p:cNvSpPr txBox="1"/>
          <p:nvPr/>
        </p:nvSpPr>
        <p:spPr>
          <a:xfrm>
            <a:off x="347725" y="2937794"/>
            <a:ext cx="923700" cy="84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it" sz="4800">
                <a:latin typeface="Raleway"/>
                <a:ea typeface="Raleway"/>
                <a:cs typeface="Raleway"/>
                <a:sym typeface="Raleway"/>
              </a:rPr>
              <a:t>3</a:t>
            </a:r>
            <a:endParaRPr sz="48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2" name="Google Shape;22;p3"/>
          <p:cNvSpPr txBox="1"/>
          <p:nvPr/>
        </p:nvSpPr>
        <p:spPr>
          <a:xfrm>
            <a:off x="4167025" y="1983300"/>
            <a:ext cx="923700" cy="84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it" sz="4800">
                <a:latin typeface="Raleway"/>
                <a:ea typeface="Raleway"/>
                <a:cs typeface="Raleway"/>
                <a:sym typeface="Raleway"/>
              </a:rPr>
              <a:t>2</a:t>
            </a:r>
            <a:endParaRPr sz="48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3" name="Google Shape;23;p3"/>
          <p:cNvSpPr txBox="1"/>
          <p:nvPr/>
        </p:nvSpPr>
        <p:spPr>
          <a:xfrm>
            <a:off x="4167025" y="2937794"/>
            <a:ext cx="923700" cy="84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it" sz="4800">
                <a:latin typeface="Raleway"/>
                <a:ea typeface="Raleway"/>
                <a:cs typeface="Raleway"/>
                <a:sym typeface="Raleway"/>
              </a:rPr>
              <a:t>4</a:t>
            </a:r>
            <a:endParaRPr sz="48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4" name="Google Shape;24;p3"/>
          <p:cNvSpPr/>
          <p:nvPr/>
        </p:nvSpPr>
        <p:spPr>
          <a:xfrm>
            <a:off x="1414300" y="1983327"/>
            <a:ext cx="26525" cy="841231"/>
          </a:xfrm>
          <a:custGeom>
            <a:avLst/>
            <a:gdLst/>
            <a:ahLst/>
            <a:cxnLst/>
            <a:rect l="l" t="t" r="r" b="b"/>
            <a:pathLst>
              <a:path w="1061" h="31989" extrusionOk="0">
                <a:moveTo>
                  <a:pt x="0" y="0"/>
                </a:moveTo>
                <a:lnTo>
                  <a:pt x="0" y="31989"/>
                </a:lnTo>
                <a:lnTo>
                  <a:pt x="1060" y="31989"/>
                </a:lnTo>
                <a:lnTo>
                  <a:pt x="1060" y="0"/>
                </a:lnTo>
                <a:close/>
              </a:path>
            </a:pathLst>
          </a:custGeom>
          <a:solidFill>
            <a:srgbClr val="6F0A1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5" name="Google Shape;25;p3"/>
          <p:cNvSpPr/>
          <p:nvPr/>
        </p:nvSpPr>
        <p:spPr>
          <a:xfrm>
            <a:off x="1414300" y="2937820"/>
            <a:ext cx="26525" cy="841231"/>
          </a:xfrm>
          <a:custGeom>
            <a:avLst/>
            <a:gdLst/>
            <a:ahLst/>
            <a:cxnLst/>
            <a:rect l="l" t="t" r="r" b="b"/>
            <a:pathLst>
              <a:path w="1061" h="31989" extrusionOk="0">
                <a:moveTo>
                  <a:pt x="0" y="0"/>
                </a:moveTo>
                <a:lnTo>
                  <a:pt x="0" y="31989"/>
                </a:lnTo>
                <a:lnTo>
                  <a:pt x="1060" y="31989"/>
                </a:lnTo>
                <a:lnTo>
                  <a:pt x="1060" y="0"/>
                </a:lnTo>
                <a:close/>
              </a:path>
            </a:pathLst>
          </a:custGeom>
          <a:solidFill>
            <a:srgbClr val="6F0A1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6" name="Google Shape;26;p3"/>
          <p:cNvSpPr/>
          <p:nvPr/>
        </p:nvSpPr>
        <p:spPr>
          <a:xfrm>
            <a:off x="5233600" y="1983327"/>
            <a:ext cx="26525" cy="841231"/>
          </a:xfrm>
          <a:custGeom>
            <a:avLst/>
            <a:gdLst/>
            <a:ahLst/>
            <a:cxnLst/>
            <a:rect l="l" t="t" r="r" b="b"/>
            <a:pathLst>
              <a:path w="1061" h="31989" extrusionOk="0">
                <a:moveTo>
                  <a:pt x="0" y="0"/>
                </a:moveTo>
                <a:lnTo>
                  <a:pt x="0" y="31989"/>
                </a:lnTo>
                <a:lnTo>
                  <a:pt x="1060" y="31989"/>
                </a:lnTo>
                <a:lnTo>
                  <a:pt x="1060" y="0"/>
                </a:lnTo>
                <a:close/>
              </a:path>
            </a:pathLst>
          </a:custGeom>
          <a:solidFill>
            <a:srgbClr val="00677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7" name="Google Shape;27;p3"/>
          <p:cNvSpPr/>
          <p:nvPr/>
        </p:nvSpPr>
        <p:spPr>
          <a:xfrm>
            <a:off x="5233600" y="2937820"/>
            <a:ext cx="26525" cy="841231"/>
          </a:xfrm>
          <a:custGeom>
            <a:avLst/>
            <a:gdLst/>
            <a:ahLst/>
            <a:cxnLst/>
            <a:rect l="l" t="t" r="r" b="b"/>
            <a:pathLst>
              <a:path w="1061" h="31989" extrusionOk="0">
                <a:moveTo>
                  <a:pt x="0" y="0"/>
                </a:moveTo>
                <a:lnTo>
                  <a:pt x="0" y="31989"/>
                </a:lnTo>
                <a:lnTo>
                  <a:pt x="1060" y="31989"/>
                </a:lnTo>
                <a:lnTo>
                  <a:pt x="1060" y="0"/>
                </a:lnTo>
                <a:close/>
              </a:path>
            </a:pathLst>
          </a:custGeom>
          <a:solidFill>
            <a:srgbClr val="00677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28" name="Google Shape;28;p3"/>
          <p:cNvSpPr txBox="1">
            <a:spLocks noGrp="1"/>
          </p:cNvSpPr>
          <p:nvPr>
            <p:ph type="title"/>
          </p:nvPr>
        </p:nvSpPr>
        <p:spPr>
          <a:xfrm>
            <a:off x="727650" y="861800"/>
            <a:ext cx="7688700" cy="53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29" name="Google Shape;29;p3"/>
          <p:cNvSpPr/>
          <p:nvPr/>
        </p:nvSpPr>
        <p:spPr>
          <a:xfrm rot="10800000" flipH="1">
            <a:off x="828588" y="734362"/>
            <a:ext cx="372900" cy="45900"/>
          </a:xfrm>
          <a:prstGeom prst="rect">
            <a:avLst/>
          </a:prstGeom>
          <a:solidFill>
            <a:srgbClr val="00677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" name="Google Shape;30;p3"/>
          <p:cNvSpPr/>
          <p:nvPr/>
        </p:nvSpPr>
        <p:spPr>
          <a:xfrm rot="10800000" flipH="1">
            <a:off x="1201463" y="734362"/>
            <a:ext cx="372900" cy="45900"/>
          </a:xfrm>
          <a:prstGeom prst="rect">
            <a:avLst/>
          </a:prstGeom>
          <a:solidFill>
            <a:srgbClr val="6F0A1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31" name="Google Shape;31;p3"/>
          <p:cNvPicPr preferRelativeResize="0"/>
          <p:nvPr/>
        </p:nvPicPr>
        <p:blipFill>
          <a:blip r:embed="rId2">
            <a:alphaModFix amt="25000"/>
          </a:blip>
          <a:stretch>
            <a:fillRect/>
          </a:stretch>
        </p:blipFill>
        <p:spPr>
          <a:xfrm>
            <a:off x="7922487" y="2407925"/>
            <a:ext cx="1776325" cy="1656624"/>
          </a:xfrm>
          <a:prstGeom prst="rect">
            <a:avLst/>
          </a:prstGeom>
          <a:noFill/>
          <a:ln>
            <a:noFill/>
          </a:ln>
        </p:spPr>
      </p:pic>
      <p:sp>
        <p:nvSpPr>
          <p:cNvPr id="32" name="Google Shape;32;p3"/>
          <p:cNvSpPr txBox="1"/>
          <p:nvPr/>
        </p:nvSpPr>
        <p:spPr>
          <a:xfrm>
            <a:off x="347725" y="3875250"/>
            <a:ext cx="923700" cy="84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it" sz="4800">
                <a:latin typeface="Raleway"/>
                <a:ea typeface="Raleway"/>
                <a:cs typeface="Raleway"/>
                <a:sym typeface="Raleway"/>
              </a:rPr>
              <a:t>5</a:t>
            </a:r>
            <a:endParaRPr sz="48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33" name="Google Shape;33;p3"/>
          <p:cNvSpPr txBox="1"/>
          <p:nvPr/>
        </p:nvSpPr>
        <p:spPr>
          <a:xfrm>
            <a:off x="4167025" y="3875250"/>
            <a:ext cx="923700" cy="84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it" sz="4800">
                <a:latin typeface="Raleway"/>
                <a:ea typeface="Raleway"/>
                <a:cs typeface="Raleway"/>
                <a:sym typeface="Raleway"/>
              </a:rPr>
              <a:t>6</a:t>
            </a:r>
            <a:endParaRPr sz="4800"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34" name="Google Shape;34;p3"/>
          <p:cNvSpPr/>
          <p:nvPr/>
        </p:nvSpPr>
        <p:spPr>
          <a:xfrm>
            <a:off x="1414300" y="3875277"/>
            <a:ext cx="26525" cy="841231"/>
          </a:xfrm>
          <a:custGeom>
            <a:avLst/>
            <a:gdLst/>
            <a:ahLst/>
            <a:cxnLst/>
            <a:rect l="l" t="t" r="r" b="b"/>
            <a:pathLst>
              <a:path w="1061" h="31989" extrusionOk="0">
                <a:moveTo>
                  <a:pt x="0" y="0"/>
                </a:moveTo>
                <a:lnTo>
                  <a:pt x="0" y="31989"/>
                </a:lnTo>
                <a:lnTo>
                  <a:pt x="1060" y="31989"/>
                </a:lnTo>
                <a:lnTo>
                  <a:pt x="1060" y="0"/>
                </a:lnTo>
                <a:close/>
              </a:path>
            </a:pathLst>
          </a:custGeom>
          <a:solidFill>
            <a:srgbClr val="6F0A1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35" name="Google Shape;35;p3"/>
          <p:cNvSpPr/>
          <p:nvPr/>
        </p:nvSpPr>
        <p:spPr>
          <a:xfrm>
            <a:off x="5233600" y="3875277"/>
            <a:ext cx="26525" cy="841231"/>
          </a:xfrm>
          <a:custGeom>
            <a:avLst/>
            <a:gdLst/>
            <a:ahLst/>
            <a:cxnLst/>
            <a:rect l="l" t="t" r="r" b="b"/>
            <a:pathLst>
              <a:path w="1061" h="31989" extrusionOk="0">
                <a:moveTo>
                  <a:pt x="0" y="0"/>
                </a:moveTo>
                <a:lnTo>
                  <a:pt x="0" y="31989"/>
                </a:lnTo>
                <a:lnTo>
                  <a:pt x="1060" y="31989"/>
                </a:lnTo>
                <a:lnTo>
                  <a:pt x="1060" y="0"/>
                </a:lnTo>
                <a:close/>
              </a:path>
            </a:pathLst>
          </a:custGeom>
          <a:solidFill>
            <a:srgbClr val="00677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Raleway"/>
              <a:ea typeface="Raleway"/>
              <a:cs typeface="Raleway"/>
              <a:sym typeface="Raleway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4"/>
          <p:cNvSpPr/>
          <p:nvPr/>
        </p:nvSpPr>
        <p:spPr>
          <a:xfrm>
            <a:off x="0" y="0"/>
            <a:ext cx="9144000" cy="487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" name="Google Shape;38;p4"/>
          <p:cNvSpPr txBox="1">
            <a:spLocks noGrp="1"/>
          </p:cNvSpPr>
          <p:nvPr>
            <p:ph type="title"/>
          </p:nvPr>
        </p:nvSpPr>
        <p:spPr>
          <a:xfrm>
            <a:off x="727650" y="861800"/>
            <a:ext cx="7688700" cy="53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39" name="Google Shape;39;p4"/>
          <p:cNvSpPr txBox="1">
            <a:spLocks noGrp="1"/>
          </p:cNvSpPr>
          <p:nvPr>
            <p:ph type="body" idx="1"/>
          </p:nvPr>
        </p:nvSpPr>
        <p:spPr>
          <a:xfrm>
            <a:off x="727650" y="1622025"/>
            <a:ext cx="7688700" cy="2261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1150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29845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2pPr>
            <a:lvl3pPr marL="1371600" lvl="2" indent="-29845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3pPr>
            <a:lvl4pPr marL="1828800" lvl="3" indent="-29845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4pPr>
            <a:lvl5pPr marL="2286000" lvl="4" indent="-29845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5pPr>
            <a:lvl6pPr marL="2743200" lvl="5" indent="-29845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6pPr>
            <a:lvl7pPr marL="3200400" lvl="6" indent="-29845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7pPr>
            <a:lvl8pPr marL="3657600" lvl="7" indent="-29845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>
              <a:spcBef>
                <a:spcPts val="1600"/>
              </a:spcBef>
              <a:spcAft>
                <a:spcPts val="1600"/>
              </a:spcAft>
              <a:buSzPts val="11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4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/>
              <a:t>‹#›</a:t>
            </a:fld>
            <a:endParaRPr/>
          </a:p>
        </p:txBody>
      </p:sp>
      <p:sp>
        <p:nvSpPr>
          <p:cNvPr id="41" name="Google Shape;41;p4"/>
          <p:cNvSpPr/>
          <p:nvPr/>
        </p:nvSpPr>
        <p:spPr>
          <a:xfrm>
            <a:off x="0" y="4129750"/>
            <a:ext cx="1327200" cy="1013700"/>
          </a:xfrm>
          <a:prstGeom prst="rtTriangle">
            <a:avLst/>
          </a:prstGeom>
          <a:solidFill>
            <a:srgbClr val="6F0A1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42" name="Google Shape;42;p4"/>
          <p:cNvPicPr preferRelativeResize="0"/>
          <p:nvPr/>
        </p:nvPicPr>
        <p:blipFill rotWithShape="1">
          <a:blip r:embed="rId2">
            <a:alphaModFix/>
          </a:blip>
          <a:srcRect l="7088" t="14912" r="9620" b="16523"/>
          <a:stretch/>
        </p:blipFill>
        <p:spPr>
          <a:xfrm>
            <a:off x="99550" y="4626400"/>
            <a:ext cx="505675" cy="487800"/>
          </a:xfrm>
          <a:prstGeom prst="rect">
            <a:avLst/>
          </a:prstGeom>
          <a:noFill/>
          <a:ln>
            <a:noFill/>
          </a:ln>
        </p:spPr>
      </p:pic>
      <p:sp>
        <p:nvSpPr>
          <p:cNvPr id="43" name="Google Shape;43;p4"/>
          <p:cNvSpPr/>
          <p:nvPr/>
        </p:nvSpPr>
        <p:spPr>
          <a:xfrm rot="10800000" flipH="1">
            <a:off x="828588" y="734362"/>
            <a:ext cx="372900" cy="45900"/>
          </a:xfrm>
          <a:prstGeom prst="rect">
            <a:avLst/>
          </a:prstGeom>
          <a:solidFill>
            <a:srgbClr val="00677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4" name="Google Shape;44;p4"/>
          <p:cNvSpPr/>
          <p:nvPr/>
        </p:nvSpPr>
        <p:spPr>
          <a:xfrm rot="10800000" flipH="1">
            <a:off x="1201463" y="734362"/>
            <a:ext cx="372900" cy="45900"/>
          </a:xfrm>
          <a:prstGeom prst="rect">
            <a:avLst/>
          </a:prstGeom>
          <a:solidFill>
            <a:srgbClr val="6F0A1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" name="Google Shape;45;p4"/>
          <p:cNvSpPr txBox="1">
            <a:spLocks noGrp="1"/>
          </p:cNvSpPr>
          <p:nvPr>
            <p:ph type="subTitle" idx="2"/>
          </p:nvPr>
        </p:nvSpPr>
        <p:spPr>
          <a:xfrm>
            <a:off x="1414800" y="4779100"/>
            <a:ext cx="5854500" cy="3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1pPr>
            <a:lvl2pPr lvl="1" rtl="0">
              <a:spcBef>
                <a:spcPts val="160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160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160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160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160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160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160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1600"/>
              </a:spcBef>
              <a:spcAft>
                <a:spcPts val="160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5"/>
          <p:cNvSpPr/>
          <p:nvPr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" name="Google Shape;48;p5"/>
          <p:cNvSpPr txBox="1">
            <a:spLocks noGrp="1"/>
          </p:cNvSpPr>
          <p:nvPr>
            <p:ph type="title"/>
          </p:nvPr>
        </p:nvSpPr>
        <p:spPr>
          <a:xfrm>
            <a:off x="770150" y="831575"/>
            <a:ext cx="3300900" cy="136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49" name="Google Shape;49;p5"/>
          <p:cNvSpPr txBox="1">
            <a:spLocks noGrp="1"/>
          </p:cNvSpPr>
          <p:nvPr>
            <p:ph type="subTitle" idx="1"/>
          </p:nvPr>
        </p:nvSpPr>
        <p:spPr>
          <a:xfrm>
            <a:off x="770150" y="2192250"/>
            <a:ext cx="3300900" cy="240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0" name="Google Shape;50;p5"/>
          <p:cNvSpPr txBox="1">
            <a:spLocks noGrp="1"/>
          </p:cNvSpPr>
          <p:nvPr>
            <p:ph type="body" idx="2"/>
          </p:nvPr>
        </p:nvSpPr>
        <p:spPr>
          <a:xfrm>
            <a:off x="5161900" y="831575"/>
            <a:ext cx="3374400" cy="302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1150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29845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2pPr>
            <a:lvl3pPr marL="1371600" lvl="2" indent="-29845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3pPr>
            <a:lvl4pPr marL="1828800" lvl="3" indent="-29845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4pPr>
            <a:lvl5pPr marL="2286000" lvl="4" indent="-29845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5pPr>
            <a:lvl6pPr marL="2743200" lvl="5" indent="-29845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6pPr>
            <a:lvl7pPr marL="3200400" lvl="6" indent="-29845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7pPr>
            <a:lvl8pPr marL="3657600" lvl="7" indent="-29845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>
              <a:spcBef>
                <a:spcPts val="1600"/>
              </a:spcBef>
              <a:spcAft>
                <a:spcPts val="1600"/>
              </a:spcAft>
              <a:buSzPts val="1100"/>
              <a:buChar char="■"/>
              <a:defRPr/>
            </a:lvl9pPr>
          </a:lstStyle>
          <a:p>
            <a:endParaRPr/>
          </a:p>
        </p:txBody>
      </p:sp>
      <p:sp>
        <p:nvSpPr>
          <p:cNvPr id="51" name="Google Shape;51;p5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/>
              <a:t>‹#›</a:t>
            </a:fld>
            <a:endParaRPr/>
          </a:p>
        </p:txBody>
      </p:sp>
      <p:sp>
        <p:nvSpPr>
          <p:cNvPr id="52" name="Google Shape;52;p5"/>
          <p:cNvSpPr/>
          <p:nvPr/>
        </p:nvSpPr>
        <p:spPr>
          <a:xfrm>
            <a:off x="0" y="4129750"/>
            <a:ext cx="1327200" cy="1013700"/>
          </a:xfrm>
          <a:prstGeom prst="rtTriangle">
            <a:avLst/>
          </a:prstGeom>
          <a:solidFill>
            <a:srgbClr val="6F0A1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53" name="Google Shape;53;p5"/>
          <p:cNvPicPr preferRelativeResize="0"/>
          <p:nvPr/>
        </p:nvPicPr>
        <p:blipFill rotWithShape="1">
          <a:blip r:embed="rId2">
            <a:alphaModFix/>
          </a:blip>
          <a:srcRect t="13651" b="17785"/>
          <a:stretch/>
        </p:blipFill>
        <p:spPr>
          <a:xfrm>
            <a:off x="0" y="4597050"/>
            <a:ext cx="607175" cy="487800"/>
          </a:xfrm>
          <a:prstGeom prst="rect">
            <a:avLst/>
          </a:prstGeom>
          <a:noFill/>
          <a:ln>
            <a:noFill/>
          </a:ln>
        </p:spPr>
      </p:pic>
      <p:sp>
        <p:nvSpPr>
          <p:cNvPr id="54" name="Google Shape;54;p5"/>
          <p:cNvSpPr/>
          <p:nvPr/>
        </p:nvSpPr>
        <p:spPr>
          <a:xfrm rot="10800000" flipH="1">
            <a:off x="828588" y="734362"/>
            <a:ext cx="372900" cy="45900"/>
          </a:xfrm>
          <a:prstGeom prst="rect">
            <a:avLst/>
          </a:prstGeom>
          <a:solidFill>
            <a:srgbClr val="00677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5" name="Google Shape;55;p5"/>
          <p:cNvSpPr/>
          <p:nvPr/>
        </p:nvSpPr>
        <p:spPr>
          <a:xfrm rot="10800000" flipH="1">
            <a:off x="1201463" y="734362"/>
            <a:ext cx="372900" cy="45900"/>
          </a:xfrm>
          <a:prstGeom prst="rect">
            <a:avLst/>
          </a:prstGeom>
          <a:solidFill>
            <a:srgbClr val="6F0A1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6" name="Google Shape;56;p5"/>
          <p:cNvSpPr txBox="1">
            <a:spLocks noGrp="1"/>
          </p:cNvSpPr>
          <p:nvPr>
            <p:ph type="subTitle" idx="3"/>
          </p:nvPr>
        </p:nvSpPr>
        <p:spPr>
          <a:xfrm>
            <a:off x="1414800" y="4779100"/>
            <a:ext cx="5854500" cy="3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1pPr>
            <a:lvl2pPr lvl="1" rtl="0">
              <a:spcBef>
                <a:spcPts val="160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160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160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160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160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160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160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1600"/>
              </a:spcBef>
              <a:spcAft>
                <a:spcPts val="160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57" name="Google Shape;57;p5"/>
          <p:cNvSpPr/>
          <p:nvPr/>
        </p:nvSpPr>
        <p:spPr>
          <a:xfrm>
            <a:off x="0" y="4129750"/>
            <a:ext cx="1327200" cy="1013700"/>
          </a:xfrm>
          <a:prstGeom prst="rtTriangle">
            <a:avLst/>
          </a:prstGeom>
          <a:solidFill>
            <a:srgbClr val="6F0A1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58" name="Google Shape;58;p5"/>
          <p:cNvPicPr preferRelativeResize="0"/>
          <p:nvPr/>
        </p:nvPicPr>
        <p:blipFill rotWithShape="1">
          <a:blip r:embed="rId2">
            <a:alphaModFix/>
          </a:blip>
          <a:srcRect l="7088" t="14912" r="9620" b="16523"/>
          <a:stretch/>
        </p:blipFill>
        <p:spPr>
          <a:xfrm>
            <a:off x="99550" y="4626400"/>
            <a:ext cx="505675" cy="4878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treamline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Font typeface="Catamaran"/>
              <a:buNone/>
              <a:defRPr sz="2800" b="1">
                <a:latin typeface="Catamaran"/>
                <a:ea typeface="Catamaran"/>
                <a:cs typeface="Catamaran"/>
                <a:sym typeface="Catamaran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Font typeface="Raleway"/>
              <a:buNone/>
              <a:defRPr sz="2800" b="1">
                <a:latin typeface="Raleway"/>
                <a:ea typeface="Raleway"/>
                <a:cs typeface="Raleway"/>
                <a:sym typeface="Raleway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Font typeface="Raleway"/>
              <a:buNone/>
              <a:defRPr sz="2800" b="1">
                <a:latin typeface="Raleway"/>
                <a:ea typeface="Raleway"/>
                <a:cs typeface="Raleway"/>
                <a:sym typeface="Raleway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Font typeface="Raleway"/>
              <a:buNone/>
              <a:defRPr sz="2800" b="1">
                <a:latin typeface="Raleway"/>
                <a:ea typeface="Raleway"/>
                <a:cs typeface="Raleway"/>
                <a:sym typeface="Raleway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Font typeface="Raleway"/>
              <a:buNone/>
              <a:defRPr sz="2800" b="1">
                <a:latin typeface="Raleway"/>
                <a:ea typeface="Raleway"/>
                <a:cs typeface="Raleway"/>
                <a:sym typeface="Raleway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Font typeface="Raleway"/>
              <a:buNone/>
              <a:defRPr sz="2800" b="1">
                <a:latin typeface="Raleway"/>
                <a:ea typeface="Raleway"/>
                <a:cs typeface="Raleway"/>
                <a:sym typeface="Raleway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Font typeface="Raleway"/>
              <a:buNone/>
              <a:defRPr sz="2800" b="1">
                <a:latin typeface="Raleway"/>
                <a:ea typeface="Raleway"/>
                <a:cs typeface="Raleway"/>
                <a:sym typeface="Raleway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Font typeface="Raleway"/>
              <a:buNone/>
              <a:defRPr sz="2800" b="1">
                <a:latin typeface="Raleway"/>
                <a:ea typeface="Raleway"/>
                <a:cs typeface="Raleway"/>
                <a:sym typeface="Raleway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Font typeface="Raleway"/>
              <a:buNone/>
              <a:defRPr sz="2800" b="1"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11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Catamaran"/>
              <a:buChar char="●"/>
              <a:defRPr sz="1300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1pPr>
            <a:lvl2pPr marL="914400" lvl="1" indent="-29845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Catamaran"/>
              <a:buChar char="○"/>
              <a:defRPr sz="1100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2pPr>
            <a:lvl3pPr marL="1371600" lvl="2" indent="-29845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Catamaran"/>
              <a:buChar char="■"/>
              <a:defRPr sz="1100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3pPr>
            <a:lvl4pPr marL="1828800" lvl="3" indent="-29845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Catamaran"/>
              <a:buChar char="●"/>
              <a:defRPr sz="1100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4pPr>
            <a:lvl5pPr marL="2286000" lvl="4" indent="-29845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Catamaran"/>
              <a:buChar char="○"/>
              <a:defRPr sz="1100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5pPr>
            <a:lvl6pPr marL="2743200" lvl="5" indent="-29845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Catamaran"/>
              <a:buChar char="■"/>
              <a:defRPr sz="1100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6pPr>
            <a:lvl7pPr marL="3200400" lvl="6" indent="-29845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Catamaran"/>
              <a:buChar char="●"/>
              <a:defRPr sz="1100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7pPr>
            <a:lvl8pPr marL="3657600" lvl="7" indent="-29845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Catamaran"/>
              <a:buChar char="○"/>
              <a:defRPr sz="1100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8pPr>
            <a:lvl9pPr marL="4114800" lvl="8" indent="-29845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accent1"/>
              </a:buClr>
              <a:buSzPts val="1100"/>
              <a:buFont typeface="Catamaran"/>
              <a:buChar char="■"/>
              <a:defRPr sz="1100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000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1pPr>
            <a:lvl2pPr lvl="1" algn="r">
              <a:buNone/>
              <a:defRPr sz="1000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2pPr>
            <a:lvl3pPr lvl="2" algn="r">
              <a:buNone/>
              <a:defRPr sz="1000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3pPr>
            <a:lvl4pPr lvl="3" algn="r">
              <a:buNone/>
              <a:defRPr sz="1000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4pPr>
            <a:lvl5pPr lvl="4" algn="r">
              <a:buNone/>
              <a:defRPr sz="1000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5pPr>
            <a:lvl6pPr lvl="5" algn="r">
              <a:buNone/>
              <a:defRPr sz="1000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6pPr>
            <a:lvl7pPr lvl="6" algn="r">
              <a:buNone/>
              <a:defRPr sz="1000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7pPr>
            <a:lvl8pPr lvl="7" algn="r">
              <a:buNone/>
              <a:defRPr sz="1000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8pPr>
            <a:lvl9pPr lvl="8" algn="r">
              <a:buNone/>
              <a:defRPr sz="1000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</p:sldLayoutIdLst>
  <p:hf hd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notesSlide" Target="../notesSlides/notesSlide11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slideLayout" Target="../slideLayouts/slideLayout3.xml"/><Relationship Id="rId2" Type="http://schemas.openxmlformats.org/officeDocument/2006/relationships/tags" Target="../tags/tag35.xml"/><Relationship Id="rId16" Type="http://schemas.openxmlformats.org/officeDocument/2006/relationships/slide" Target="slide7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5" Type="http://schemas.openxmlformats.org/officeDocument/2006/relationships/tags" Target="../tags/tag38.xml"/><Relationship Id="rId15" Type="http://schemas.openxmlformats.org/officeDocument/2006/relationships/slide" Target="slide5.xml"/><Relationship Id="rId10" Type="http://schemas.openxmlformats.org/officeDocument/2006/relationships/tags" Target="../tags/tag43.xml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image" Target="../media/image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aggle.com/datasets/laotse/credit-risk-dataset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13" Type="http://schemas.openxmlformats.org/officeDocument/2006/relationships/notesSlide" Target="../notesSlides/notesSlide13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12" Type="http://schemas.openxmlformats.org/officeDocument/2006/relationships/slideLayout" Target="../slideLayouts/slideLayout3.xml"/><Relationship Id="rId2" Type="http://schemas.openxmlformats.org/officeDocument/2006/relationships/tags" Target="../tags/tag46.xml"/><Relationship Id="rId16" Type="http://schemas.openxmlformats.org/officeDocument/2006/relationships/slide" Target="slide7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tags" Target="../tags/tag55.xml"/><Relationship Id="rId5" Type="http://schemas.openxmlformats.org/officeDocument/2006/relationships/tags" Target="../tags/tag49.xml"/><Relationship Id="rId15" Type="http://schemas.openxmlformats.org/officeDocument/2006/relationships/slide" Target="slide5.xml"/><Relationship Id="rId10" Type="http://schemas.openxmlformats.org/officeDocument/2006/relationships/tags" Target="../tags/tag54.xml"/><Relationship Id="rId4" Type="http://schemas.openxmlformats.org/officeDocument/2006/relationships/tags" Target="../tags/tag48.xml"/><Relationship Id="rId9" Type="http://schemas.openxmlformats.org/officeDocument/2006/relationships/tags" Target="../tags/tag53.xml"/><Relationship Id="rId14" Type="http://schemas.openxmlformats.org/officeDocument/2006/relationships/image" Target="../media/image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notesSlide" Target="../notesSlides/notesSlide16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slideLayout" Target="../slideLayouts/slideLayout3.xml"/><Relationship Id="rId2" Type="http://schemas.openxmlformats.org/officeDocument/2006/relationships/tags" Target="../tags/tag57.xml"/><Relationship Id="rId16" Type="http://schemas.openxmlformats.org/officeDocument/2006/relationships/slide" Target="slide7.xml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5" Type="http://schemas.openxmlformats.org/officeDocument/2006/relationships/tags" Target="../tags/tag60.xml"/><Relationship Id="rId15" Type="http://schemas.openxmlformats.org/officeDocument/2006/relationships/slide" Target="slide5.xml"/><Relationship Id="rId10" Type="http://schemas.openxmlformats.org/officeDocument/2006/relationships/tags" Target="../tags/tag65.xml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image" Target="../media/image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notesSlide" Target="../notesSlides/notesSlide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slideLayout" Target="../slideLayouts/slideLayout3.xml"/><Relationship Id="rId2" Type="http://schemas.openxmlformats.org/officeDocument/2006/relationships/tags" Target="../tags/tag2.xml"/><Relationship Id="rId16" Type="http://schemas.openxmlformats.org/officeDocument/2006/relationships/slide" Target="slide7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slide" Target="slide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notesSlide" Target="../notesSlides/notesSlide20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12" Type="http://schemas.openxmlformats.org/officeDocument/2006/relationships/slideLayout" Target="../slideLayouts/slideLayout3.xml"/><Relationship Id="rId2" Type="http://schemas.openxmlformats.org/officeDocument/2006/relationships/tags" Target="../tags/tag70.xml"/><Relationship Id="rId16" Type="http://schemas.openxmlformats.org/officeDocument/2006/relationships/slide" Target="slide7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5" Type="http://schemas.openxmlformats.org/officeDocument/2006/relationships/tags" Target="../tags/tag73.xml"/><Relationship Id="rId15" Type="http://schemas.openxmlformats.org/officeDocument/2006/relationships/slide" Target="slide5.xml"/><Relationship Id="rId10" Type="http://schemas.openxmlformats.org/officeDocument/2006/relationships/tags" Target="../tags/tag78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image" Target="../media/image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5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87.xml"/><Relationship Id="rId13" Type="http://schemas.openxmlformats.org/officeDocument/2006/relationships/notesSlide" Target="../notesSlides/notesSlide22.xml"/><Relationship Id="rId3" Type="http://schemas.openxmlformats.org/officeDocument/2006/relationships/tags" Target="../tags/tag82.xml"/><Relationship Id="rId7" Type="http://schemas.openxmlformats.org/officeDocument/2006/relationships/tags" Target="../tags/tag86.xml"/><Relationship Id="rId12" Type="http://schemas.openxmlformats.org/officeDocument/2006/relationships/slideLayout" Target="../slideLayouts/slideLayout3.xml"/><Relationship Id="rId2" Type="http://schemas.openxmlformats.org/officeDocument/2006/relationships/tags" Target="../tags/tag81.xml"/><Relationship Id="rId16" Type="http://schemas.openxmlformats.org/officeDocument/2006/relationships/slide" Target="slide7.xml"/><Relationship Id="rId1" Type="http://schemas.openxmlformats.org/officeDocument/2006/relationships/tags" Target="../tags/tag80.xml"/><Relationship Id="rId6" Type="http://schemas.openxmlformats.org/officeDocument/2006/relationships/tags" Target="../tags/tag85.xml"/><Relationship Id="rId11" Type="http://schemas.openxmlformats.org/officeDocument/2006/relationships/tags" Target="../tags/tag90.xml"/><Relationship Id="rId5" Type="http://schemas.openxmlformats.org/officeDocument/2006/relationships/tags" Target="../tags/tag84.xml"/><Relationship Id="rId15" Type="http://schemas.openxmlformats.org/officeDocument/2006/relationships/slide" Target="slide5.xml"/><Relationship Id="rId10" Type="http://schemas.openxmlformats.org/officeDocument/2006/relationships/tags" Target="../tags/tag89.xml"/><Relationship Id="rId4" Type="http://schemas.openxmlformats.org/officeDocument/2006/relationships/tags" Target="../tags/tag83.xml"/><Relationship Id="rId9" Type="http://schemas.openxmlformats.org/officeDocument/2006/relationships/tags" Target="../tags/tag88.xml"/><Relationship Id="rId14" Type="http://schemas.openxmlformats.org/officeDocument/2006/relationships/image" Target="../media/image3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98.xml"/><Relationship Id="rId13" Type="http://schemas.openxmlformats.org/officeDocument/2006/relationships/notesSlide" Target="../notesSlides/notesSlide25.xml"/><Relationship Id="rId3" Type="http://schemas.openxmlformats.org/officeDocument/2006/relationships/tags" Target="../tags/tag93.xml"/><Relationship Id="rId7" Type="http://schemas.openxmlformats.org/officeDocument/2006/relationships/tags" Target="../tags/tag97.xml"/><Relationship Id="rId12" Type="http://schemas.openxmlformats.org/officeDocument/2006/relationships/slideLayout" Target="../slideLayouts/slideLayout3.xml"/><Relationship Id="rId2" Type="http://schemas.openxmlformats.org/officeDocument/2006/relationships/tags" Target="../tags/tag92.xml"/><Relationship Id="rId16" Type="http://schemas.openxmlformats.org/officeDocument/2006/relationships/slide" Target="slide7.xml"/><Relationship Id="rId1" Type="http://schemas.openxmlformats.org/officeDocument/2006/relationships/tags" Target="../tags/tag91.xml"/><Relationship Id="rId6" Type="http://schemas.openxmlformats.org/officeDocument/2006/relationships/tags" Target="../tags/tag96.xml"/><Relationship Id="rId11" Type="http://schemas.openxmlformats.org/officeDocument/2006/relationships/tags" Target="../tags/tag101.xml"/><Relationship Id="rId5" Type="http://schemas.openxmlformats.org/officeDocument/2006/relationships/tags" Target="../tags/tag95.xml"/><Relationship Id="rId15" Type="http://schemas.openxmlformats.org/officeDocument/2006/relationships/slide" Target="slide5.xml"/><Relationship Id="rId10" Type="http://schemas.openxmlformats.org/officeDocument/2006/relationships/tags" Target="../tags/tag100.xml"/><Relationship Id="rId4" Type="http://schemas.openxmlformats.org/officeDocument/2006/relationships/tags" Target="../tags/tag94.xml"/><Relationship Id="rId9" Type="http://schemas.openxmlformats.org/officeDocument/2006/relationships/tags" Target="../tags/tag99.xml"/><Relationship Id="rId14" Type="http://schemas.openxmlformats.org/officeDocument/2006/relationships/image" Target="../media/image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7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13" Type="http://schemas.openxmlformats.org/officeDocument/2006/relationships/notesSlide" Target="../notesSlides/notesSlide27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12" Type="http://schemas.openxmlformats.org/officeDocument/2006/relationships/slideLayout" Target="../slideLayouts/slideLayout3.xml"/><Relationship Id="rId2" Type="http://schemas.openxmlformats.org/officeDocument/2006/relationships/tags" Target="../tags/tag103.xml"/><Relationship Id="rId16" Type="http://schemas.openxmlformats.org/officeDocument/2006/relationships/slide" Target="slide7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11" Type="http://schemas.openxmlformats.org/officeDocument/2006/relationships/tags" Target="../tags/tag112.xml"/><Relationship Id="rId5" Type="http://schemas.openxmlformats.org/officeDocument/2006/relationships/tags" Target="../tags/tag106.xml"/><Relationship Id="rId15" Type="http://schemas.openxmlformats.org/officeDocument/2006/relationships/slide" Target="slide5.xml"/><Relationship Id="rId10" Type="http://schemas.openxmlformats.org/officeDocument/2006/relationships/tags" Target="../tags/tag111.xml"/><Relationship Id="rId4" Type="http://schemas.openxmlformats.org/officeDocument/2006/relationships/tags" Target="../tags/tag105.xml"/><Relationship Id="rId9" Type="http://schemas.openxmlformats.org/officeDocument/2006/relationships/tags" Target="../tags/tag110.xml"/><Relationship Id="rId14" Type="http://schemas.openxmlformats.org/officeDocument/2006/relationships/image" Target="../media/image3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120.xml"/><Relationship Id="rId13" Type="http://schemas.openxmlformats.org/officeDocument/2006/relationships/notesSlide" Target="../notesSlides/notesSlide29.xml"/><Relationship Id="rId3" Type="http://schemas.openxmlformats.org/officeDocument/2006/relationships/tags" Target="../tags/tag115.xml"/><Relationship Id="rId7" Type="http://schemas.openxmlformats.org/officeDocument/2006/relationships/tags" Target="../tags/tag119.xml"/><Relationship Id="rId12" Type="http://schemas.openxmlformats.org/officeDocument/2006/relationships/slideLayout" Target="../slideLayouts/slideLayout3.xml"/><Relationship Id="rId2" Type="http://schemas.openxmlformats.org/officeDocument/2006/relationships/tags" Target="../tags/tag114.xml"/><Relationship Id="rId16" Type="http://schemas.openxmlformats.org/officeDocument/2006/relationships/slide" Target="slide7.xml"/><Relationship Id="rId1" Type="http://schemas.openxmlformats.org/officeDocument/2006/relationships/tags" Target="../tags/tag113.xml"/><Relationship Id="rId6" Type="http://schemas.openxmlformats.org/officeDocument/2006/relationships/tags" Target="../tags/tag118.xml"/><Relationship Id="rId11" Type="http://schemas.openxmlformats.org/officeDocument/2006/relationships/tags" Target="../tags/tag123.xml"/><Relationship Id="rId5" Type="http://schemas.openxmlformats.org/officeDocument/2006/relationships/tags" Target="../tags/tag117.xml"/><Relationship Id="rId15" Type="http://schemas.openxmlformats.org/officeDocument/2006/relationships/slide" Target="slide5.xml"/><Relationship Id="rId10" Type="http://schemas.openxmlformats.org/officeDocument/2006/relationships/tags" Target="../tags/tag122.xml"/><Relationship Id="rId4" Type="http://schemas.openxmlformats.org/officeDocument/2006/relationships/tags" Target="../tags/tag116.xml"/><Relationship Id="rId9" Type="http://schemas.openxmlformats.org/officeDocument/2006/relationships/tags" Target="../tags/tag121.xml"/><Relationship Id="rId1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aggle.com/datasets/laotse/credit-risk-dataset" TargetMode="External"/><Relationship Id="rId7" Type="http://schemas.openxmlformats.org/officeDocument/2006/relationships/hyperlink" Target="https://github.com/ip200/venn-abers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towardsdatascience.com/model-calibration-explained-a-visual-guide-with-code-examples-for-beginners-55f368bafe72/" TargetMode="External"/><Relationship Id="rId5" Type="http://schemas.openxmlformats.org/officeDocument/2006/relationships/hyperlink" Target="https://arxiv.org/pdf/1511.00213" TargetMode="External"/><Relationship Id="rId4" Type="http://schemas.openxmlformats.org/officeDocument/2006/relationships/hyperlink" Target="https://arxiv.org/pdf/1211.0025" TargetMode="Externa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notesSlide" Target="../notesSlides/notesSlide4.xml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slideLayout" Target="../slideLayouts/slideLayout3.xml"/><Relationship Id="rId2" Type="http://schemas.openxmlformats.org/officeDocument/2006/relationships/tags" Target="../tags/tag13.xml"/><Relationship Id="rId16" Type="http://schemas.openxmlformats.org/officeDocument/2006/relationships/slide" Target="slide7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5" Type="http://schemas.openxmlformats.org/officeDocument/2006/relationships/tags" Target="../tags/tag16.xml"/><Relationship Id="rId15" Type="http://schemas.openxmlformats.org/officeDocument/2006/relationships/slide" Target="slide5.xml"/><Relationship Id="rId10" Type="http://schemas.openxmlformats.org/officeDocument/2006/relationships/tags" Target="../tags/tag21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notesSlide" Target="../notesSlides/notesSlide6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slideLayout" Target="../slideLayouts/slideLayout3.xml"/><Relationship Id="rId2" Type="http://schemas.openxmlformats.org/officeDocument/2006/relationships/tags" Target="../tags/tag24.xml"/><Relationship Id="rId16" Type="http://schemas.openxmlformats.org/officeDocument/2006/relationships/slide" Target="slide7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5" Type="http://schemas.openxmlformats.org/officeDocument/2006/relationships/tags" Target="../tags/tag27.xml"/><Relationship Id="rId15" Type="http://schemas.openxmlformats.org/officeDocument/2006/relationships/slide" Target="slide5.xml"/><Relationship Id="rId10" Type="http://schemas.openxmlformats.org/officeDocument/2006/relationships/tags" Target="../tags/tag32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6"/>
          <p:cNvSpPr txBox="1">
            <a:spLocks noGrp="1"/>
          </p:cNvSpPr>
          <p:nvPr>
            <p:ph type="ctrTitle"/>
          </p:nvPr>
        </p:nvSpPr>
        <p:spPr>
          <a:xfrm>
            <a:off x="729450" y="1322450"/>
            <a:ext cx="7688100" cy="166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/>
              <a:t>The Importance of Being Calibrated: A Study on Probability Calibration and Interval Estimation for Binary Classification</a:t>
            </a:r>
          </a:p>
        </p:txBody>
      </p:sp>
      <p:sp>
        <p:nvSpPr>
          <p:cNvPr id="64" name="Google Shape;64;p6"/>
          <p:cNvSpPr txBox="1">
            <a:spLocks noGrp="1"/>
          </p:cNvSpPr>
          <p:nvPr>
            <p:ph type="subTitle" idx="1"/>
          </p:nvPr>
        </p:nvSpPr>
        <p:spPr>
          <a:xfrm>
            <a:off x="729625" y="3172900"/>
            <a:ext cx="7688100" cy="821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indent="0"/>
            <a:r>
              <a:rPr lang="en-US" b="1" dirty="0"/>
              <a:t>Elisa </a:t>
            </a:r>
            <a:r>
              <a:rPr lang="en-US" b="1" dirty="0" err="1"/>
              <a:t>Terzini</a:t>
            </a:r>
            <a:r>
              <a:rPr lang="it" b="1" dirty="0"/>
              <a:t>, Sezer Mezgil, Sandro Khizanishvili</a:t>
            </a:r>
            <a:endParaRPr b="1" dirty="0"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200" dirty="0"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200" dirty="0"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dirty="0"/>
              <a:t>Statistical Learning</a:t>
            </a:r>
            <a:endParaRPr sz="1200" dirty="0"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it" sz="1200" dirty="0"/>
              <a:t>Sapienza University of Rome</a:t>
            </a:r>
            <a:endParaRPr sz="1200" dirty="0"/>
          </a:p>
        </p:txBody>
      </p:sp>
      <p:sp>
        <p:nvSpPr>
          <p:cNvPr id="65" name="Google Shape;65;p6"/>
          <p:cNvSpPr txBox="1"/>
          <p:nvPr/>
        </p:nvSpPr>
        <p:spPr>
          <a:xfrm>
            <a:off x="4133489" y="4352231"/>
            <a:ext cx="1108211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it" sz="1300" b="1" dirty="0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rPr>
              <a:t>Sep 2025</a:t>
            </a:r>
            <a:endParaRPr sz="1300" b="1" dirty="0">
              <a:solidFill>
                <a:schemeClr val="accent1"/>
              </a:solidFill>
              <a:latin typeface="Catamaran"/>
              <a:ea typeface="Catamaran"/>
              <a:cs typeface="Catamaran"/>
              <a:sym typeface="Catamaran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9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/>
              <a:t>10</a:t>
            </a:fld>
            <a:endParaRPr/>
          </a:p>
        </p:txBody>
      </p:sp>
      <p:sp>
        <p:nvSpPr>
          <p:cNvPr id="90" name="Google Shape;90;p9"/>
          <p:cNvSpPr txBox="1">
            <a:spLocks noGrp="1"/>
          </p:cNvSpPr>
          <p:nvPr>
            <p:ph type="subTitle" idx="2"/>
          </p:nvPr>
        </p:nvSpPr>
        <p:spPr>
          <a:xfrm>
            <a:off x="1392248" y="4749851"/>
            <a:ext cx="6912507" cy="3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n-US" dirty="0"/>
              <a:t>Statistical Learning - </a:t>
            </a:r>
            <a:r>
              <a:rPr lang="en-US" sz="900" dirty="0"/>
              <a:t>The Importance of Being Calibrated: A Study on Probability Calibration and Interval Estimation for Binary Classification</a:t>
            </a:r>
          </a:p>
          <a:p>
            <a:pPr marL="0" lvl="0" indent="0" algn="l" rtl="0">
              <a:spcBef>
                <a:spcPts val="1600"/>
              </a:spcBef>
              <a:spcAft>
                <a:spcPts val="1600"/>
              </a:spcAft>
              <a:buNone/>
            </a:pPr>
            <a:endParaRPr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302F970-8DA1-794D-C184-C6241054F2EB}"/>
              </a:ext>
            </a:extLst>
          </p:cNvPr>
          <p:cNvSpPr/>
          <p:nvPr/>
        </p:nvSpPr>
        <p:spPr>
          <a:xfrm>
            <a:off x="472339" y="58549"/>
            <a:ext cx="407676" cy="383512"/>
          </a:xfrm>
          <a:prstGeom prst="ellipse">
            <a:avLst/>
          </a:prstGeom>
          <a:solidFill>
            <a:srgbClr val="AD0505"/>
          </a:solidFill>
          <a:ln>
            <a:solidFill>
              <a:srgbClr val="AD050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Google Shape;70;p7">
            <a:extLst>
              <a:ext uri="{FF2B5EF4-FFF2-40B4-BE49-F238E27FC236}">
                <a16:creationId xmlns:a16="http://schemas.microsoft.com/office/drawing/2014/main" id="{C65463CC-4A7C-13C9-1895-A7B5B3E5B1F9}"/>
              </a:ext>
            </a:extLst>
          </p:cNvPr>
          <p:cNvSpPr txBox="1">
            <a:spLocks/>
          </p:cNvSpPr>
          <p:nvPr/>
        </p:nvSpPr>
        <p:spPr>
          <a:xfrm>
            <a:off x="558092" y="58549"/>
            <a:ext cx="7688700" cy="53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Catamaran"/>
              <a:buNone/>
              <a:defRPr sz="2600" b="1" i="0" u="none" strike="noStrike" cap="none">
                <a:solidFill>
                  <a:schemeClr val="dk2"/>
                </a:solidFill>
                <a:latin typeface="Catamaran"/>
                <a:ea typeface="Catamaran"/>
                <a:cs typeface="Catamaran"/>
                <a:sym typeface="Catamara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r>
              <a:rPr lang="en-US" sz="1600" dirty="0"/>
              <a:t>Calibration Methods: Cross Venn-</a:t>
            </a:r>
            <a:r>
              <a:rPr lang="en-US" sz="1600" dirty="0" err="1"/>
              <a:t>Abers</a:t>
            </a:r>
            <a:r>
              <a:rPr lang="en-US" sz="1600" dirty="0"/>
              <a:t> predictors (CVAPs)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Google Shape;73;p7">
                <a:extLst>
                  <a:ext uri="{FF2B5EF4-FFF2-40B4-BE49-F238E27FC236}">
                    <a16:creationId xmlns:a16="http://schemas.microsoft.com/office/drawing/2014/main" id="{A062E98F-3CBF-0FB9-2B9A-80B19D4A264C}"/>
                  </a:ext>
                </a:extLst>
              </p:cNvPr>
              <p:cNvSpPr txBox="1"/>
              <p:nvPr/>
            </p:nvSpPr>
            <p:spPr>
              <a:xfrm>
                <a:off x="93133" y="1396256"/>
                <a:ext cx="4107454" cy="2148190"/>
              </a:xfrm>
              <a:prstGeom prst="rect">
                <a:avLst/>
              </a:prstGeom>
              <a:noFill/>
              <a:ln>
                <a:solidFill>
                  <a:srgbClr val="C00000"/>
                </a:solidFill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171450" lvl="0" indent="-171450" algn="just">
                  <a:buFont typeface="Arial" panose="020B0604020202020204" pitchFamily="34" charset="0"/>
                  <a:buChar char="•"/>
                </a:pPr>
                <a:r>
                  <a:rPr lang="en-US" sz="1000" dirty="0">
                    <a:solidFill>
                      <a:schemeClr val="accent1"/>
                    </a:solidFill>
                    <a:latin typeface="Catamaran"/>
                    <a:cs typeface="Catamaran"/>
                  </a:rPr>
                  <a:t>A CVAP is just a combination of </a:t>
                </a:r>
                <a14:m>
                  <m:oMath xmlns:m="http://schemas.openxmlformats.org/officeDocument/2006/math">
                    <m:r>
                      <a:rPr lang="en-US" sz="100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𝐾</m:t>
                    </m:r>
                  </m:oMath>
                </a14:m>
                <a:r>
                  <a:rPr lang="en-US" sz="1000" dirty="0">
                    <a:solidFill>
                      <a:schemeClr val="accent1"/>
                    </a:solidFill>
                    <a:latin typeface="Catamaran"/>
                    <a:cs typeface="Catamaran"/>
                  </a:rPr>
                  <a:t> IVAPs, where </a:t>
                </a:r>
                <a14:m>
                  <m:oMath xmlns:m="http://schemas.openxmlformats.org/officeDocument/2006/math">
                    <m:r>
                      <a:rPr lang="en-US" sz="100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𝐾</m:t>
                    </m:r>
                  </m:oMath>
                </a14:m>
                <a:r>
                  <a:rPr lang="en-US" sz="1000" dirty="0">
                    <a:solidFill>
                      <a:schemeClr val="accent1"/>
                    </a:solidFill>
                    <a:latin typeface="Catamaran"/>
                    <a:cs typeface="Catamaran"/>
                  </a:rPr>
                  <a:t> is the parameter of the algorithm.</a:t>
                </a:r>
              </a:p>
              <a:p>
                <a:pPr lvl="0" algn="just"/>
                <a:endParaRPr lang="en-US" sz="1000" b="1" dirty="0">
                  <a:solidFill>
                    <a:schemeClr val="accent1"/>
                  </a:solidFill>
                  <a:latin typeface="Catamaran"/>
                  <a:cs typeface="Catamaran"/>
                </a:endParaRPr>
              </a:p>
              <a:p>
                <a:pPr lvl="0" algn="just"/>
                <a:r>
                  <a:rPr lang="en-US" sz="1000" b="1" dirty="0">
                    <a:solidFill>
                      <a:schemeClr val="accent1"/>
                    </a:solidFill>
                    <a:latin typeface="Catamaran"/>
                    <a:cs typeface="Catamaran"/>
                  </a:rPr>
                  <a:t>Algorithm</a:t>
                </a:r>
                <a:r>
                  <a:rPr lang="en-US" sz="1000" dirty="0">
                    <a:solidFill>
                      <a:schemeClr val="accent1"/>
                    </a:solidFill>
                    <a:latin typeface="Catamaran"/>
                    <a:cs typeface="Catamaran"/>
                  </a:rPr>
                  <a:t>:</a:t>
                </a:r>
              </a:p>
              <a:p>
                <a:pPr lvl="0" algn="just"/>
                <a:endParaRPr lang="en-US" sz="1000" dirty="0">
                  <a:solidFill>
                    <a:schemeClr val="accent1"/>
                  </a:solidFill>
                  <a:latin typeface="Catamaran"/>
                  <a:cs typeface="Catamaran"/>
                </a:endParaRPr>
              </a:p>
              <a:p>
                <a:pPr marL="228600" lvl="0" indent="-228600" algn="just">
                  <a:buFont typeface="+mj-lt"/>
                  <a:buAutoNum type="arabicPeriod"/>
                </a:pPr>
                <a:r>
                  <a:rPr lang="en-US" sz="1000" dirty="0">
                    <a:solidFill>
                      <a:schemeClr val="accent1"/>
                    </a:solidFill>
                    <a:latin typeface="Catamaran"/>
                    <a:cs typeface="Catamaran"/>
                  </a:rPr>
                  <a:t>Split the training set </a:t>
                </a:r>
                <a14:m>
                  <m:oMath xmlns:m="http://schemas.openxmlformats.org/officeDocument/2006/math">
                    <m:r>
                      <a:rPr lang="en-US" sz="100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𝑇</m:t>
                    </m:r>
                  </m:oMath>
                </a14:m>
                <a:r>
                  <a:rPr lang="en-US" sz="1000" dirty="0">
                    <a:solidFill>
                      <a:schemeClr val="accent1"/>
                    </a:solidFill>
                    <a:latin typeface="Catamaran"/>
                    <a:cs typeface="Catamaran"/>
                  </a:rPr>
                  <a:t> into </a:t>
                </a:r>
                <a14:m>
                  <m:oMath xmlns:m="http://schemas.openxmlformats.org/officeDocument/2006/math">
                    <m:r>
                      <a:rPr lang="en-US" sz="100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𝐾</m:t>
                    </m:r>
                  </m:oMath>
                </a14:m>
                <a:r>
                  <a:rPr lang="en-US" sz="1000" dirty="0">
                    <a:solidFill>
                      <a:schemeClr val="accent1"/>
                    </a:solidFill>
                    <a:latin typeface="Catamaran"/>
                    <a:cs typeface="Catamaran"/>
                  </a:rPr>
                  <a:t> fold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00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</m:ctrlPr>
                      </m:sSubPr>
                      <m:e>
                        <m:r>
                          <a:rPr lang="en-US" sz="1000" b="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𝑇</m:t>
                        </m:r>
                      </m:e>
                      <m:sub>
                        <m:r>
                          <a:rPr lang="en-US" sz="1000" b="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1</m:t>
                        </m:r>
                      </m:sub>
                    </m:sSub>
                    <m:r>
                      <a:rPr lang="en-US" sz="100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, . . . ,</m:t>
                    </m:r>
                    <m:sSub>
                      <m:sSubPr>
                        <m:ctrlPr>
                          <a:rPr lang="en-US" sz="1000" i="1" dirty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</m:ctrlPr>
                      </m:sSubPr>
                      <m:e>
                        <m:r>
                          <a:rPr lang="en-US" sz="1000" i="1" dirty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𝑇</m:t>
                        </m:r>
                      </m:e>
                      <m:sub>
                        <m:r>
                          <a:rPr lang="en-US" sz="1000" b="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𝑘</m:t>
                        </m:r>
                      </m:sub>
                    </m:sSub>
                  </m:oMath>
                </a14:m>
                <a:endParaRPr lang="en-US" sz="1000" dirty="0">
                  <a:solidFill>
                    <a:schemeClr val="accent1"/>
                  </a:solidFill>
                  <a:latin typeface="Catamaran"/>
                  <a:cs typeface="Catamaran"/>
                </a:endParaRPr>
              </a:p>
              <a:p>
                <a:pPr marL="228600" lvl="0" indent="-228600" algn="just">
                  <a:buFont typeface="+mj-lt"/>
                  <a:buAutoNum type="arabicPeriod"/>
                </a:pPr>
                <a:endParaRPr lang="en-US" sz="1000" dirty="0">
                  <a:solidFill>
                    <a:schemeClr val="accent1"/>
                  </a:solidFill>
                  <a:latin typeface="Catamaran"/>
                  <a:cs typeface="Catamaran"/>
                </a:endParaRPr>
              </a:p>
              <a:p>
                <a:pPr marL="228600" lvl="0" indent="-228600" algn="just">
                  <a:buFont typeface="+mj-lt"/>
                  <a:buAutoNum type="arabicPeriod"/>
                </a:pPr>
                <a:r>
                  <a:rPr lang="en-US" sz="1000" b="1" dirty="0">
                    <a:solidFill>
                      <a:schemeClr val="accent1"/>
                    </a:solidFill>
                    <a:latin typeface="Catamaran"/>
                    <a:cs typeface="Catamaran"/>
                  </a:rPr>
                  <a:t>for</a:t>
                </a:r>
                <a:r>
                  <a:rPr lang="en-US" sz="1000" dirty="0">
                    <a:solidFill>
                      <a:schemeClr val="accent1"/>
                    </a:solidFill>
                    <a:latin typeface="Catamaran"/>
                    <a:cs typeface="Catamaran"/>
                  </a:rPr>
                  <a:t> </a:t>
                </a:r>
                <a14:m>
                  <m:oMath xmlns:m="http://schemas.openxmlformats.org/officeDocument/2006/math">
                    <m:r>
                      <a:rPr lang="en-US" sz="100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𝑘</m:t>
                    </m:r>
                    <m:r>
                      <a:rPr lang="en-US" sz="100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 ∈ </m:t>
                    </m:r>
                    <m:d>
                      <m:dPr>
                        <m:begChr m:val="{"/>
                        <m:endChr m:val="}"/>
                        <m:ctrlPr>
                          <a:rPr lang="en-US" sz="100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</m:ctrlPr>
                      </m:dPr>
                      <m:e>
                        <m:r>
                          <a:rPr lang="en-US" sz="100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1, . . . , </m:t>
                        </m:r>
                        <m:r>
                          <a:rPr lang="en-US" sz="100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𝐾</m:t>
                        </m:r>
                      </m:e>
                    </m:d>
                  </m:oMath>
                </a14:m>
                <a:endParaRPr lang="en-US" sz="1000" i="1" dirty="0">
                  <a:solidFill>
                    <a:schemeClr val="accent1"/>
                  </a:solidFill>
                  <a:latin typeface="Cambria Math" panose="02040503050406030204" pitchFamily="18" charset="0"/>
                  <a:cs typeface="Catamaran"/>
                </a:endParaRPr>
              </a:p>
              <a:p>
                <a:pPr lvl="2" algn="just"/>
                <a:r>
                  <a:rPr lang="en-US" sz="1000" dirty="0">
                    <a:solidFill>
                      <a:schemeClr val="accent1"/>
                    </a:solidFill>
                    <a:cs typeface="Catamaran"/>
                  </a:rPr>
                  <a:t>	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sz="100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</m:ctrlPr>
                      </m:sSubSupPr>
                      <m:e>
                        <m:r>
                          <a:rPr lang="en-US" sz="1000" b="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(</m:t>
                        </m:r>
                        <m:r>
                          <a:rPr lang="en-US" sz="1000" b="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𝑝</m:t>
                        </m:r>
                      </m:e>
                      <m:sub>
                        <m:r>
                          <a:rPr lang="en-US" sz="1000" b="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0</m:t>
                        </m:r>
                      </m:sub>
                      <m:sup>
                        <m:r>
                          <a:rPr lang="en-US" sz="1000" b="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𝑘</m:t>
                        </m:r>
                      </m:sup>
                    </m:sSubSup>
                    <m:r>
                      <a:rPr lang="en-US" sz="1000" b="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,</m:t>
                    </m:r>
                    <m:sSubSup>
                      <m:sSubSupPr>
                        <m:ctrlPr>
                          <a:rPr lang="en-US" sz="1000" i="1" dirty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</m:ctrlPr>
                      </m:sSubSupPr>
                      <m:e>
                        <m:r>
                          <a:rPr lang="en-US" sz="1000" i="1" dirty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𝑝</m:t>
                        </m:r>
                      </m:e>
                      <m:sub>
                        <m:r>
                          <a:rPr lang="en-US" sz="1000" b="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1</m:t>
                        </m:r>
                      </m:sub>
                      <m:sup>
                        <m:r>
                          <a:rPr lang="en-US" sz="1000" i="1" dirty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𝑘</m:t>
                        </m:r>
                      </m:sup>
                    </m:sSubSup>
                    <m:r>
                      <a:rPr lang="en-US" sz="1000" b="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)</m:t>
                    </m:r>
                    <m:r>
                      <a:rPr lang="en-US" sz="1000" b="0" i="0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≔</m:t>
                    </m:r>
                    <m:r>
                      <m:rPr>
                        <m:sty m:val="p"/>
                      </m:rPr>
                      <a:rPr lang="en-US" sz="1000" b="0" i="0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IVAP</m:t>
                    </m:r>
                    <m:r>
                      <a:rPr lang="en-US" sz="1000" b="0" i="0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(</m:t>
                    </m:r>
                    <m:r>
                      <m:rPr>
                        <m:sty m:val="p"/>
                      </m:rPr>
                      <a:rPr lang="en-US" sz="1000" b="0" i="0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T</m:t>
                    </m:r>
                    <m:r>
                      <m:rPr>
                        <m:lit/>
                      </m:rPr>
                      <a:rPr lang="en-US" sz="1000" b="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 </m:t>
                    </m:r>
                    <m:r>
                      <a:rPr lang="en-US" sz="1000" b="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\ </m:t>
                    </m:r>
                    <m:sSub>
                      <m:sSubPr>
                        <m:ctrlPr>
                          <a:rPr lang="en-US" sz="1000" b="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</m:ctrlPr>
                      </m:sSubPr>
                      <m:e>
                        <m:r>
                          <a:rPr lang="en-US" sz="1000" b="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𝑇</m:t>
                        </m:r>
                      </m:e>
                      <m:sub>
                        <m:r>
                          <a:rPr lang="en-US" sz="1000" b="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𝑘</m:t>
                        </m:r>
                      </m:sub>
                    </m:sSub>
                    <m:r>
                      <a:rPr lang="en-US" sz="1000" b="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, </m:t>
                    </m:r>
                    <m:sSub>
                      <m:sSubPr>
                        <m:ctrlPr>
                          <a:rPr lang="en-US" sz="1000" i="1" dirty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</m:ctrlPr>
                      </m:sSubPr>
                      <m:e>
                        <m:r>
                          <a:rPr lang="en-US" sz="1000" i="1" dirty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𝑇</m:t>
                        </m:r>
                      </m:e>
                      <m:sub>
                        <m:r>
                          <a:rPr lang="en-US" sz="1000" i="1" dirty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𝑘</m:t>
                        </m:r>
                      </m:sub>
                    </m:sSub>
                    <m:r>
                      <a:rPr lang="en-US" sz="1000" b="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, </m:t>
                    </m:r>
                    <m:r>
                      <a:rPr lang="en-US" sz="1000" b="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𝑥</m:t>
                    </m:r>
                    <m:r>
                      <a:rPr lang="en-US" sz="1000" b="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)</m:t>
                    </m:r>
                  </m:oMath>
                </a14:m>
                <a:endParaRPr lang="en-US" sz="1000" dirty="0">
                  <a:solidFill>
                    <a:schemeClr val="accent1"/>
                  </a:solidFill>
                  <a:latin typeface="Catamaran"/>
                  <a:cs typeface="Catamaran"/>
                </a:endParaRPr>
              </a:p>
              <a:p>
                <a:pPr lvl="0" algn="just"/>
                <a:endParaRPr lang="en-US" sz="1000" dirty="0">
                  <a:solidFill>
                    <a:schemeClr val="accent1"/>
                  </a:solidFill>
                  <a:latin typeface="Catamaran"/>
                  <a:cs typeface="Catamaran"/>
                </a:endParaRPr>
              </a:p>
              <a:p>
                <a:pPr marL="228600" lvl="0" indent="-228600" algn="just">
                  <a:buFont typeface="+mj-lt"/>
                  <a:buAutoNum type="arabicPeriod" startAt="3"/>
                </a:pPr>
                <a:r>
                  <a:rPr lang="en-US" sz="1000" b="1" dirty="0">
                    <a:solidFill>
                      <a:schemeClr val="accent1"/>
                    </a:solidFill>
                    <a:latin typeface="Catamaran"/>
                    <a:cs typeface="Catamaran"/>
                  </a:rPr>
                  <a:t>return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z="120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  <a:sym typeface="Catamaran"/>
                          </a:rPr>
                        </m:ctrlPr>
                      </m:fPr>
                      <m:num>
                        <m:r>
                          <a:rPr lang="en-US" sz="1200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  <a:sym typeface="Catamaran"/>
                          </a:rPr>
                          <m:t>𝐺𝑀</m:t>
                        </m:r>
                        <m:r>
                          <a:rPr lang="en-US" sz="1200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  <a:sym typeface="Catamaran"/>
                          </a:rPr>
                          <m:t>(</m:t>
                        </m:r>
                        <m:sSub>
                          <m:sSubPr>
                            <m:ctrlPr>
                              <a:rPr lang="en-US" sz="120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cs typeface="Catamaran"/>
                                <a:sym typeface="Catamaran"/>
                              </a:rPr>
                            </m:ctrlPr>
                          </m:sSubPr>
                          <m:e>
                            <m:r>
                              <a:rPr lang="en-US" sz="12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cs typeface="Catamaran"/>
                                <a:sym typeface="Catamaran"/>
                              </a:rPr>
                              <m:t>𝑝</m:t>
                            </m:r>
                          </m:e>
                          <m:sub>
                            <m:r>
                              <a:rPr lang="en-US" sz="12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cs typeface="Catamaran"/>
                                <a:sym typeface="Catamaran"/>
                              </a:rPr>
                              <m:t>1</m:t>
                            </m:r>
                          </m:sub>
                        </m:sSub>
                        <m:r>
                          <a:rPr lang="en-US" sz="1200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  <a:sym typeface="Catamaran"/>
                          </a:rPr>
                          <m:t>)</m:t>
                        </m:r>
                      </m:num>
                      <m:den>
                        <m:r>
                          <a:rPr lang="en-US" sz="1200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  <a:sym typeface="Catamaran"/>
                          </a:rPr>
                          <m:t>𝐺𝑀</m:t>
                        </m:r>
                        <m:r>
                          <a:rPr lang="en-US" sz="1200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  <a:sym typeface="Catamaran"/>
                          </a:rPr>
                          <m:t>(1−</m:t>
                        </m:r>
                        <m:sSub>
                          <m:sSubPr>
                            <m:ctrlPr>
                              <a:rPr lang="en-US" sz="12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cs typeface="Catamaran"/>
                                <a:sym typeface="Catamaran"/>
                              </a:rPr>
                            </m:ctrlPr>
                          </m:sSubPr>
                          <m:e>
                            <m:r>
                              <a:rPr lang="en-US" sz="12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cs typeface="Catamaran"/>
                                <a:sym typeface="Catamaran"/>
                              </a:rPr>
                              <m:t>𝑝</m:t>
                            </m:r>
                          </m:e>
                          <m:sub>
                            <m:r>
                              <a:rPr lang="en-US" sz="12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cs typeface="Catamaran"/>
                                <a:sym typeface="Catamaran"/>
                              </a:rPr>
                              <m:t>0</m:t>
                            </m:r>
                          </m:sub>
                        </m:sSub>
                        <m:r>
                          <a:rPr lang="en-US" sz="1200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  <a:sym typeface="Catamaran"/>
                          </a:rPr>
                          <m:t>)+</m:t>
                        </m:r>
                        <m:sSub>
                          <m:sSubPr>
                            <m:ctrlPr>
                              <a:rPr lang="en-US" sz="12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cs typeface="Catamaran"/>
                                <a:sym typeface="Catamaran"/>
                              </a:rPr>
                            </m:ctrlPr>
                          </m:sSubPr>
                          <m:e>
                            <m:r>
                              <a:rPr lang="en-US" sz="12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cs typeface="Catamaran"/>
                                <a:sym typeface="Catamaran"/>
                              </a:rPr>
                              <m:t>𝐺𝑀</m:t>
                            </m:r>
                            <m:r>
                              <a:rPr lang="en-US" sz="12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cs typeface="Catamaran"/>
                                <a:sym typeface="Catamaran"/>
                              </a:rPr>
                              <m:t>(</m:t>
                            </m:r>
                            <m:r>
                              <a:rPr lang="en-US" sz="12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cs typeface="Catamaran"/>
                                <a:sym typeface="Catamaran"/>
                              </a:rPr>
                              <m:t>𝑝</m:t>
                            </m:r>
                          </m:e>
                          <m:sub>
                            <m:r>
                              <a:rPr lang="en-US" sz="1200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cs typeface="Catamaran"/>
                                <a:sym typeface="Catamaran"/>
                              </a:rPr>
                              <m:t>1</m:t>
                            </m:r>
                          </m:sub>
                        </m:sSub>
                        <m:r>
                          <a:rPr lang="en-US" sz="1200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  <a:sym typeface="Catamaran"/>
                          </a:rPr>
                          <m:t>)</m:t>
                        </m:r>
                      </m:den>
                    </m:f>
                  </m:oMath>
                </a14:m>
                <a:endParaRPr lang="en-US" sz="1200" b="1" dirty="0">
                  <a:solidFill>
                    <a:schemeClr val="accent1"/>
                  </a:solidFill>
                  <a:latin typeface="Catamaran"/>
                  <a:cs typeface="Catamaran"/>
                </a:endParaRPr>
              </a:p>
              <a:p>
                <a:pPr lvl="0" algn="just"/>
                <a:endParaRPr lang="en-US" sz="1000" dirty="0">
                  <a:solidFill>
                    <a:schemeClr val="accent1"/>
                  </a:solidFill>
                  <a:latin typeface="Catamaran"/>
                  <a:cs typeface="Catamaran"/>
                </a:endParaRPr>
              </a:p>
              <a:p>
                <a:pPr marL="228600" lvl="0" indent="-228600" algn="just">
                  <a:buFont typeface="+mj-lt"/>
                  <a:buAutoNum type="arabicPeriod"/>
                </a:pPr>
                <a:endParaRPr lang="en-US" sz="1000" dirty="0">
                  <a:solidFill>
                    <a:schemeClr val="accent1"/>
                  </a:solidFill>
                  <a:latin typeface="Catamaran"/>
                  <a:cs typeface="Catamaran"/>
                </a:endParaRPr>
              </a:p>
              <a:p>
                <a:pPr lvl="0" algn="just"/>
                <a:endParaRPr lang="en-US" sz="1000" dirty="0">
                  <a:solidFill>
                    <a:schemeClr val="accent1"/>
                  </a:solidFill>
                  <a:latin typeface="Catamaran"/>
                  <a:cs typeface="Catamaran"/>
                </a:endParaRPr>
              </a:p>
            </p:txBody>
          </p:sp>
        </mc:Choice>
        <mc:Fallback xmlns="">
          <p:sp>
            <p:nvSpPr>
              <p:cNvPr id="18" name="Google Shape;73;p7">
                <a:extLst>
                  <a:ext uri="{FF2B5EF4-FFF2-40B4-BE49-F238E27FC236}">
                    <a16:creationId xmlns:a16="http://schemas.microsoft.com/office/drawing/2014/main" id="{A062E98F-3CBF-0FB9-2B9A-80B19D4A264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3133" y="1396256"/>
                <a:ext cx="4107454" cy="2148190"/>
              </a:xfrm>
              <a:prstGeom prst="rect">
                <a:avLst/>
              </a:prstGeom>
              <a:blipFill>
                <a:blip r:embed="rId3"/>
                <a:stretch>
                  <a:fillRect l="-148"/>
                </a:stretch>
              </a:blipFill>
              <a:ln>
                <a:solidFill>
                  <a:srgbClr val="C0000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1" name="Picture 10">
            <a:extLst>
              <a:ext uri="{FF2B5EF4-FFF2-40B4-BE49-F238E27FC236}">
                <a16:creationId xmlns:a16="http://schemas.microsoft.com/office/drawing/2014/main" id="{41DED7E2-7CEE-7FFE-EBCB-9C9D677A38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49436" y="1126347"/>
            <a:ext cx="4487380" cy="2890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7269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7"/>
          <p:cNvSpPr txBox="1">
            <a:spLocks noGrp="1"/>
          </p:cNvSpPr>
          <p:nvPr>
            <p:ph type="title"/>
          </p:nvPr>
        </p:nvSpPr>
        <p:spPr>
          <a:xfrm>
            <a:off x="836507" y="2036550"/>
            <a:ext cx="2632407" cy="53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it" dirty="0"/>
              <a:t>Agenda</a:t>
            </a:r>
            <a:endParaRPr dirty="0"/>
          </a:p>
        </p:txBody>
      </p:sp>
      <p:sp>
        <p:nvSpPr>
          <p:cNvPr id="71" name="Google Shape;71;p7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 smtClean="0"/>
              <a:t>11</a:t>
            </a:fld>
            <a:endParaRPr dirty="0"/>
          </a:p>
        </p:txBody>
      </p:sp>
      <p:sp>
        <p:nvSpPr>
          <p:cNvPr id="72" name="Google Shape;72;p7"/>
          <p:cNvSpPr txBox="1">
            <a:spLocks noGrp="1"/>
          </p:cNvSpPr>
          <p:nvPr>
            <p:ph type="subTitle" idx="2"/>
          </p:nvPr>
        </p:nvSpPr>
        <p:spPr>
          <a:xfrm>
            <a:off x="1414799" y="4813033"/>
            <a:ext cx="7278263" cy="36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it" dirty="0"/>
              <a:t>Statistical Learning - </a:t>
            </a:r>
            <a:r>
              <a:rPr lang="en-US" sz="900" dirty="0"/>
              <a:t>The Importance of Being Calibrated: A Study on Probability Calibration and Interval Estimation for Binary Classification</a:t>
            </a:r>
            <a:endParaRPr sz="900" dirty="0"/>
          </a:p>
        </p:txBody>
      </p:sp>
      <p:pic>
        <p:nvPicPr>
          <p:cNvPr id="3" name="Picture 2" descr="A credit score gauge with a needle and a needle&#10;&#10;Description automatically generated with medium confidence">
            <a:extLst>
              <a:ext uri="{FF2B5EF4-FFF2-40B4-BE49-F238E27FC236}">
                <a16:creationId xmlns:a16="http://schemas.microsoft.com/office/drawing/2014/main" id="{9FCF091F-D737-673B-5DF8-C50E86D44B9B}"/>
              </a:ext>
            </a:extLst>
          </p:cNvPr>
          <p:cNvPicPr>
            <a:picLocks noChangeAspect="1"/>
          </p:cNvPicPr>
          <p:nvPr/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030" y="1838522"/>
            <a:ext cx="3875320" cy="217855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8C92F66-DD98-00C1-7C0B-03704970C3A5}"/>
              </a:ext>
            </a:extLst>
          </p:cNvPr>
          <p:cNvSpPr/>
          <p:nvPr/>
        </p:nvSpPr>
        <p:spPr>
          <a:xfrm>
            <a:off x="4215460" y="501993"/>
            <a:ext cx="4869542" cy="4307386"/>
          </a:xfrm>
          <a:prstGeom prst="rect">
            <a:avLst/>
          </a:prstGeom>
          <a:solidFill>
            <a:schemeClr val="bg2">
              <a:lumMod val="50000"/>
              <a:lumOff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A9F4115F-1744-27F1-D226-BAC0AD24BF02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4528427" y="888657"/>
            <a:ext cx="4383753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Introduction &amp; Motivation: Can We Trust a Model's Confidence?</a:t>
            </a:r>
            <a:endParaRPr lang="en-US" sz="1200" b="1" dirty="0">
              <a:solidFill>
                <a:schemeClr val="tx2"/>
              </a:solidFill>
              <a:latin typeface="Catamaran" panose="020B0604020202020204" charset="0"/>
              <a:cs typeface="Catamaran" panose="020B0604020202020204" charset="0"/>
            </a:endParaRPr>
          </a:p>
        </p:txBody>
      </p:sp>
      <p:sp>
        <p:nvSpPr>
          <p:cNvPr id="9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5F05BD8C-75CB-F6C3-0243-14FC44DD4137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4528427" y="1251873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Accuracy is Not Enough: Discrimination vs. Calibration</a:t>
            </a:r>
          </a:p>
        </p:txBody>
      </p:sp>
      <p:sp>
        <p:nvSpPr>
          <p:cNvPr id="10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123AAC5C-157B-3B55-1942-784B8E41094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4541030" y="1576677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Calibration Methods: Platt, Isotonic, and Venn-</a:t>
            </a:r>
            <a:r>
              <a:rPr lang="en-US" sz="1200" b="1" dirty="0" err="1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Abers</a:t>
            </a:r>
            <a:endParaRPr lang="en-US" sz="1200" b="1" dirty="0">
              <a:solidFill>
                <a:schemeClr val="tx2"/>
              </a:solidFill>
              <a:latin typeface="Catamaran" panose="020B0604020202020204" charset="0"/>
              <a:cs typeface="Catamaran" panose="020B0604020202020204" charset="0"/>
            </a:endParaRPr>
          </a:p>
        </p:txBody>
      </p:sp>
      <p:sp>
        <p:nvSpPr>
          <p:cNvPr id="11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B1D71953-C189-D7AC-2058-78E041D15A4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541030" y="1895304"/>
            <a:ext cx="3771900" cy="342900"/>
          </a:xfrm>
          <a:prstGeom prst="rect">
            <a:avLst/>
          </a:prstGeom>
          <a:solidFill>
            <a:srgbClr val="AD0505"/>
          </a:solidFill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1200" b="1" kern="1200" dirty="0">
                <a:solidFill>
                  <a:schemeClr val="bg1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Our Dataset &amp; Experimental Setup</a:t>
            </a:r>
          </a:p>
        </p:txBody>
      </p:sp>
      <p:sp>
        <p:nvSpPr>
          <p:cNvPr id="2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B9483475-6B13-5D88-E5DA-364A402874D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541030" y="2195584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Credit Risk Data Preparation</a:t>
            </a:r>
          </a:p>
        </p:txBody>
      </p:sp>
      <p:sp>
        <p:nvSpPr>
          <p:cNvPr id="5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4D24E2A4-6D94-D815-011C-BAA1A62F5CE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571999" y="2549209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Results on Credit Risk Data: Accuracy vs. Calibration</a:t>
            </a:r>
          </a:p>
        </p:txBody>
      </p:sp>
      <p:sp>
        <p:nvSpPr>
          <p:cNvPr id="6" name="Text Placeholder 4">
            <a:hlinkClick r:id="rId16" action="ppaction://hlinksldjump"/>
            <a:extLst>
              <a:ext uri="{FF2B5EF4-FFF2-40B4-BE49-F238E27FC236}">
                <a16:creationId xmlns:a16="http://schemas.microsoft.com/office/drawing/2014/main" id="{C2B4952A-8A57-D05F-3B50-2CEFE72A6D9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571999" y="2867988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Simulated Data Generation</a:t>
            </a:r>
          </a:p>
        </p:txBody>
      </p:sp>
      <p:sp>
        <p:nvSpPr>
          <p:cNvPr id="7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EA41B23B-5539-B73B-D142-61DFF193CB5C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571999" y="3203114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Results on Simulated Data</a:t>
            </a:r>
          </a:p>
        </p:txBody>
      </p:sp>
      <p:sp>
        <p:nvSpPr>
          <p:cNvPr id="12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325B2701-BD25-5A24-828A-83B799D3CA3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571999" y="3523363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Probability Intervals</a:t>
            </a:r>
          </a:p>
        </p:txBody>
      </p:sp>
      <p:sp>
        <p:nvSpPr>
          <p:cNvPr id="13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F01DA9CA-794C-F524-1E5D-32A8A79BE53E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571999" y="4111396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References</a:t>
            </a:r>
          </a:p>
        </p:txBody>
      </p:sp>
      <p:sp>
        <p:nvSpPr>
          <p:cNvPr id="14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22F063E4-4560-D8D6-F089-D6DE28E564A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571999" y="3824320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Conclusion &amp; Key Takeaways</a:t>
            </a:r>
          </a:p>
        </p:txBody>
      </p:sp>
    </p:spTree>
    <p:extLst>
      <p:ext uri="{BB962C8B-B14F-4D97-AF65-F5344CB8AC3E}">
        <p14:creationId xmlns:p14="http://schemas.microsoft.com/office/powerpoint/2010/main" val="28672691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9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/>
              <a:t>12</a:t>
            </a:fld>
            <a:endParaRPr/>
          </a:p>
        </p:txBody>
      </p:sp>
      <p:sp>
        <p:nvSpPr>
          <p:cNvPr id="90" name="Google Shape;90;p9"/>
          <p:cNvSpPr txBox="1">
            <a:spLocks noGrp="1"/>
          </p:cNvSpPr>
          <p:nvPr>
            <p:ph type="subTitle" idx="2"/>
          </p:nvPr>
        </p:nvSpPr>
        <p:spPr>
          <a:xfrm>
            <a:off x="1644750" y="4783653"/>
            <a:ext cx="6780768" cy="3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n-US" dirty="0"/>
              <a:t>Statistical Learning - </a:t>
            </a:r>
            <a:r>
              <a:rPr lang="en-US" sz="900" dirty="0"/>
              <a:t>The Importance of Being Calibrated: A Study on Probability Calibration and Interval Estimation for Binary Classification</a:t>
            </a:r>
          </a:p>
          <a:p>
            <a:pPr marL="0" lvl="0" indent="0" algn="l" rtl="0">
              <a:spcBef>
                <a:spcPts val="1600"/>
              </a:spcBef>
              <a:spcAft>
                <a:spcPts val="1600"/>
              </a:spcAft>
              <a:buNone/>
            </a:pPr>
            <a:endParaRPr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302F970-8DA1-794D-C184-C6241054F2EB}"/>
              </a:ext>
            </a:extLst>
          </p:cNvPr>
          <p:cNvSpPr/>
          <p:nvPr/>
        </p:nvSpPr>
        <p:spPr>
          <a:xfrm>
            <a:off x="472339" y="58549"/>
            <a:ext cx="407676" cy="383512"/>
          </a:xfrm>
          <a:prstGeom prst="ellipse">
            <a:avLst/>
          </a:prstGeom>
          <a:solidFill>
            <a:srgbClr val="AD0505"/>
          </a:solidFill>
          <a:ln>
            <a:solidFill>
              <a:srgbClr val="AD050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Google Shape;70;p7">
            <a:extLst>
              <a:ext uri="{FF2B5EF4-FFF2-40B4-BE49-F238E27FC236}">
                <a16:creationId xmlns:a16="http://schemas.microsoft.com/office/drawing/2014/main" id="{C65463CC-4A7C-13C9-1895-A7B5B3E5B1F9}"/>
              </a:ext>
            </a:extLst>
          </p:cNvPr>
          <p:cNvSpPr txBox="1">
            <a:spLocks/>
          </p:cNvSpPr>
          <p:nvPr/>
        </p:nvSpPr>
        <p:spPr>
          <a:xfrm>
            <a:off x="558092" y="58549"/>
            <a:ext cx="7688700" cy="53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Catamaran"/>
              <a:buNone/>
              <a:defRPr sz="2600" b="1" i="0" u="none" strike="noStrike" cap="none">
                <a:solidFill>
                  <a:schemeClr val="dk2"/>
                </a:solidFill>
                <a:latin typeface="Catamaran"/>
                <a:ea typeface="Catamaran"/>
                <a:cs typeface="Catamaran"/>
                <a:sym typeface="Catamara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r>
              <a:rPr lang="en-US" sz="1600" dirty="0"/>
              <a:t>Our Dataset &amp; Experimental Setup</a:t>
            </a:r>
          </a:p>
        </p:txBody>
      </p:sp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591D87F9-273E-30D5-3B1E-9FBD4EC88D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4719869"/>
              </p:ext>
            </p:extLst>
          </p:nvPr>
        </p:nvGraphicFramePr>
        <p:xfrm>
          <a:off x="880015" y="3207735"/>
          <a:ext cx="7545503" cy="1304727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1014730">
                  <a:extLst>
                    <a:ext uri="{9D8B030D-6E8A-4147-A177-3AD203B41FA5}">
                      <a16:colId xmlns:a16="http://schemas.microsoft.com/office/drawing/2014/main" val="2413286585"/>
                    </a:ext>
                  </a:extLst>
                </a:gridCol>
                <a:gridCol w="1803718">
                  <a:extLst>
                    <a:ext uri="{9D8B030D-6E8A-4147-A177-3AD203B41FA5}">
                      <a16:colId xmlns:a16="http://schemas.microsoft.com/office/drawing/2014/main" val="735470082"/>
                    </a:ext>
                  </a:extLst>
                </a:gridCol>
                <a:gridCol w="1354455">
                  <a:extLst>
                    <a:ext uri="{9D8B030D-6E8A-4147-A177-3AD203B41FA5}">
                      <a16:colId xmlns:a16="http://schemas.microsoft.com/office/drawing/2014/main" val="705427897"/>
                    </a:ext>
                  </a:extLst>
                </a:gridCol>
                <a:gridCol w="1695097">
                  <a:extLst>
                    <a:ext uri="{9D8B030D-6E8A-4147-A177-3AD203B41FA5}">
                      <a16:colId xmlns:a16="http://schemas.microsoft.com/office/drawing/2014/main" val="1624788661"/>
                    </a:ext>
                  </a:extLst>
                </a:gridCol>
                <a:gridCol w="1677503">
                  <a:extLst>
                    <a:ext uri="{9D8B030D-6E8A-4147-A177-3AD203B41FA5}">
                      <a16:colId xmlns:a16="http://schemas.microsoft.com/office/drawing/2014/main" val="432519644"/>
                    </a:ext>
                  </a:extLst>
                </a:gridCol>
              </a:tblGrid>
              <a:tr h="239082"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Mode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1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  <a:sym typeface="Arial"/>
                        </a:rPr>
                        <a:t>Calibration Methods Applied </a:t>
                      </a:r>
                      <a:endParaRPr lang="en-US" sz="10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Interval Estima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0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Discrimination Evaluation Metric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Calibration Evaluation Metric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7668371"/>
                  </a:ext>
                </a:extLst>
              </a:tr>
              <a:tr h="288131"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Logistic Regress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171450" indent="-171450" algn="ctr">
                        <a:buFont typeface="Arial" panose="020B0604020202020204" pitchFamily="34" charset="0"/>
                        <a:buChar char="•"/>
                      </a:pPr>
                      <a:r>
                        <a:rPr lang="en-US" sz="80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Platt’s Method</a:t>
                      </a:r>
                    </a:p>
                    <a:p>
                      <a:pPr marL="171450" indent="-171450" algn="ctr">
                        <a:buFont typeface="Arial" panose="020B0604020202020204" pitchFamily="34" charset="0"/>
                        <a:buChar char="•"/>
                      </a:pPr>
                      <a:r>
                        <a:rPr lang="en-US" sz="80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Isotonic Regression</a:t>
                      </a:r>
                    </a:p>
                    <a:p>
                      <a:pPr marL="171450" indent="-171450" algn="ctr">
                        <a:buFont typeface="Arial" panose="020B0604020202020204" pitchFamily="34" charset="0"/>
                        <a:buChar char="•"/>
                      </a:pPr>
                      <a:r>
                        <a:rPr lang="en-US" sz="80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Venn-</a:t>
                      </a:r>
                      <a:r>
                        <a:rPr lang="en-US" sz="800" dirty="0" err="1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Abers</a:t>
                      </a:r>
                      <a:endParaRPr lang="en-US" sz="800" dirty="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latin typeface="Catamaran" panose="020B0604020202020204" charset="0"/>
                        <a:cs typeface="Catamaran" panose="020B0604020202020204" charset="0"/>
                      </a:endParaRPr>
                    </a:p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US" sz="800" dirty="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latin typeface="Catamaran" panose="020B0604020202020204" charset="0"/>
                        <a:cs typeface="Catamaran" panose="020B060402020202020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Venn-</a:t>
                      </a:r>
                      <a:r>
                        <a:rPr lang="en-US" sz="800" dirty="0" err="1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Abers</a:t>
                      </a:r>
                      <a:endParaRPr lang="en-US" sz="800" dirty="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latin typeface="Catamaran" panose="020B0604020202020204" charset="0"/>
                        <a:cs typeface="Catamaran" panose="020B0604020202020204" charset="0"/>
                      </a:endParaRPr>
                    </a:p>
                    <a:p>
                      <a:pPr marL="171450" marR="0" lvl="0" indent="-17145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500 samples Bootstrap</a:t>
                      </a:r>
                    </a:p>
                    <a:p>
                      <a:pPr algn="ctr"/>
                      <a:r>
                        <a:rPr lang="en-US" sz="80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(2.5% , 97.5%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171450" indent="-171450" algn="ctr">
                        <a:buFont typeface="Arial" panose="020B0604020202020204" pitchFamily="34" charset="0"/>
                        <a:buChar char="•"/>
                      </a:pPr>
                      <a:r>
                        <a:rPr lang="en-US" sz="80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ROC AUC</a:t>
                      </a:r>
                    </a:p>
                    <a:p>
                      <a:pPr marL="171450" indent="-171450" algn="ctr">
                        <a:buFont typeface="Arial" panose="020B0604020202020204" pitchFamily="34" charset="0"/>
                        <a:buChar char="•"/>
                      </a:pPr>
                      <a:r>
                        <a:rPr lang="en-US" sz="80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KS statistics</a:t>
                      </a:r>
                    </a:p>
                    <a:p>
                      <a:pPr marL="171450" indent="-171450" algn="ctr">
                        <a:buFont typeface="Arial" panose="020B0604020202020204" pitchFamily="34" charset="0"/>
                        <a:buChar char="•"/>
                      </a:pPr>
                      <a:r>
                        <a:rPr lang="en-US" sz="80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Log Lo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171450" indent="-171450" algn="ctr">
                        <a:buFont typeface="Arial" panose="020B0604020202020204" pitchFamily="34" charset="0"/>
                        <a:buChar char="•"/>
                      </a:pPr>
                      <a:r>
                        <a:rPr lang="en-US" sz="80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Log Loss</a:t>
                      </a:r>
                    </a:p>
                    <a:p>
                      <a:pPr marL="171450" indent="-171450" algn="ctr">
                        <a:buFont typeface="Arial" panose="020B0604020202020204" pitchFamily="34" charset="0"/>
                        <a:buChar char="•"/>
                      </a:pPr>
                      <a:r>
                        <a:rPr lang="en-US" sz="80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Brier Score</a:t>
                      </a:r>
                    </a:p>
                    <a:p>
                      <a:pPr marL="171450" indent="-171450" algn="ctr">
                        <a:buFont typeface="Arial" panose="020B0604020202020204" pitchFamily="34" charset="0"/>
                        <a:buChar char="•"/>
                      </a:pPr>
                      <a:r>
                        <a:rPr lang="en-US" sz="80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ECE (Expected Calibration Error)</a:t>
                      </a:r>
                    </a:p>
                    <a:p>
                      <a:pPr marL="171450" indent="-171450" algn="ctr">
                        <a:buFont typeface="Arial" panose="020B0604020202020204" pitchFamily="34" charset="0"/>
                        <a:buChar char="•"/>
                      </a:pPr>
                      <a:endParaRPr lang="en-US" sz="800" dirty="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latin typeface="Catamaran" panose="020B0604020202020204" charset="0"/>
                        <a:cs typeface="Catamaran" panose="020B060402020202020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1920635"/>
                  </a:ext>
                </a:extLst>
              </a:tr>
              <a:tr h="451287">
                <a:tc>
                  <a:txBody>
                    <a:bodyPr/>
                    <a:lstStyle/>
                    <a:p>
                      <a:pPr algn="ctr"/>
                      <a:r>
                        <a:rPr lang="en-US" sz="800" dirty="0" err="1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XGBoost</a:t>
                      </a:r>
                      <a:r>
                        <a:rPr lang="en-US" sz="80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latin typeface="Catamaran" panose="020B0604020202020204" charset="0"/>
                        <a:cs typeface="Catamaran" panose="020B060402020202020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Venn-</a:t>
                      </a:r>
                      <a:r>
                        <a:rPr lang="en-US" sz="800" dirty="0" err="1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Abers</a:t>
                      </a:r>
                      <a:endParaRPr lang="en-US" sz="800" dirty="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latin typeface="Catamaran" panose="020B0604020202020204" charset="0"/>
                        <a:cs typeface="Catamaran" panose="020B0604020202020204" charset="0"/>
                      </a:endParaRPr>
                    </a:p>
                    <a:p>
                      <a:pPr algn="ctr"/>
                      <a:endParaRPr lang="en-US" sz="800" dirty="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latin typeface="Catamaran" panose="020B0604020202020204" charset="0"/>
                        <a:cs typeface="Catamaran" panose="020B060402020202020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latin typeface="Catamaran" panose="020B0604020202020204" charset="0"/>
                        <a:cs typeface="Catamaran" panose="020B060402020202020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214426"/>
                  </a:ext>
                </a:extLst>
              </a:tr>
            </a:tbl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3A358327-D70B-2A98-3724-4D6CC4BC2703}"/>
              </a:ext>
            </a:extLst>
          </p:cNvPr>
          <p:cNvSpPr txBox="1"/>
          <p:nvPr/>
        </p:nvSpPr>
        <p:spPr>
          <a:xfrm>
            <a:off x="1644750" y="801383"/>
            <a:ext cx="6033788" cy="226357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A1457B6-C6B4-1600-9DFA-2DED6CAB5CF2}"/>
              </a:ext>
            </a:extLst>
          </p:cNvPr>
          <p:cNvCxnSpPr>
            <a:cxnSpLocks/>
          </p:cNvCxnSpPr>
          <p:nvPr/>
        </p:nvCxnSpPr>
        <p:spPr>
          <a:xfrm>
            <a:off x="4671170" y="1272646"/>
            <a:ext cx="0" cy="1662639"/>
          </a:xfrm>
          <a:prstGeom prst="line">
            <a:avLst/>
          </a:prstGeom>
          <a:ln>
            <a:solidFill>
              <a:srgbClr val="AD050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Google Shape;73;p7">
            <a:extLst>
              <a:ext uri="{FF2B5EF4-FFF2-40B4-BE49-F238E27FC236}">
                <a16:creationId xmlns:a16="http://schemas.microsoft.com/office/drawing/2014/main" id="{4077C930-0B5F-691D-9E4C-C2A58D187D72}"/>
              </a:ext>
            </a:extLst>
          </p:cNvPr>
          <p:cNvSpPr txBox="1"/>
          <p:nvPr/>
        </p:nvSpPr>
        <p:spPr>
          <a:xfrm>
            <a:off x="1807399" y="1351354"/>
            <a:ext cx="2773471" cy="17136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 algn="just"/>
            <a:r>
              <a:rPr lang="en-US" sz="1000" b="1" dirty="0">
                <a:solidFill>
                  <a:schemeClr val="accent1"/>
                </a:solidFill>
                <a:latin typeface="Catamaran"/>
                <a:cs typeface="Catamaran"/>
              </a:rPr>
              <a:t>Credit Risk Data</a:t>
            </a: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chemeClr val="accent1"/>
                </a:solidFill>
                <a:latin typeface="Catamaran"/>
                <a:cs typeface="Catamaran"/>
              </a:rPr>
              <a:t>Source</a:t>
            </a:r>
            <a:r>
              <a:rPr lang="en-US" sz="1000" dirty="0">
                <a:solidFill>
                  <a:schemeClr val="accent1"/>
                </a:solidFill>
                <a:latin typeface="Catamaran"/>
                <a:cs typeface="Catamaran"/>
              </a:rPr>
              <a:t>: </a:t>
            </a:r>
            <a:r>
              <a:rPr lang="en-US" sz="1000" dirty="0">
                <a:solidFill>
                  <a:schemeClr val="accent1"/>
                </a:solidFill>
                <a:latin typeface="Catamaran"/>
                <a:cs typeface="Catamaran"/>
                <a:hlinkClick r:id="rId3"/>
              </a:rPr>
              <a:t>Kaggle</a:t>
            </a:r>
            <a:endParaRPr lang="en-US" sz="1000" dirty="0">
              <a:solidFill>
                <a:schemeClr val="accent1"/>
              </a:solidFill>
              <a:latin typeface="Catamaran"/>
              <a:cs typeface="Catamaran"/>
            </a:endParaRP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chemeClr val="accent1"/>
                </a:solidFill>
                <a:latin typeface="Catamaran"/>
                <a:cs typeface="Catamaran"/>
              </a:rPr>
              <a:t>Objective</a:t>
            </a:r>
            <a:r>
              <a:rPr lang="en-US" sz="1000" dirty="0">
                <a:solidFill>
                  <a:schemeClr val="accent1"/>
                </a:solidFill>
                <a:latin typeface="Catamaran"/>
                <a:cs typeface="Catamaran"/>
              </a:rPr>
              <a:t>: Binary classification task to predict customer default (Default vs. No Default).</a:t>
            </a: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chemeClr val="accent1"/>
                </a:solidFill>
                <a:latin typeface="Catamaran"/>
                <a:cs typeface="Catamaran"/>
              </a:rPr>
              <a:t>Size: </a:t>
            </a:r>
            <a:r>
              <a:rPr lang="en-US" sz="1000" dirty="0">
                <a:solidFill>
                  <a:schemeClr val="accent1"/>
                </a:solidFill>
                <a:latin typeface="Catamaran"/>
                <a:cs typeface="Catamaran"/>
              </a:rPr>
              <a:t>32,461 instances</a:t>
            </a: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chemeClr val="accent1"/>
                </a:solidFill>
                <a:latin typeface="Catamaran"/>
                <a:cs typeface="Catamaran"/>
              </a:rPr>
              <a:t>Features: </a:t>
            </a:r>
            <a:r>
              <a:rPr lang="en-US" sz="1000" dirty="0">
                <a:solidFill>
                  <a:schemeClr val="accent1"/>
                </a:solidFill>
                <a:latin typeface="Catamaran"/>
                <a:cs typeface="Catamaran"/>
              </a:rPr>
              <a:t>11 features (e.g., income, loan amount, credit history)</a:t>
            </a: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chemeClr val="accent1"/>
                </a:solidFill>
                <a:latin typeface="Catamaran"/>
                <a:cs typeface="Catamaran"/>
              </a:rPr>
              <a:t>Class Balance: </a:t>
            </a:r>
            <a:r>
              <a:rPr lang="en-US" sz="1000" dirty="0">
                <a:solidFill>
                  <a:schemeClr val="accent1"/>
                </a:solidFill>
                <a:latin typeface="Catamaran"/>
                <a:cs typeface="Catamaran"/>
              </a:rPr>
              <a:t>78% No Default (0); 22% Default (1)</a:t>
            </a:r>
          </a:p>
        </p:txBody>
      </p:sp>
      <p:sp>
        <p:nvSpPr>
          <p:cNvPr id="20" name="Google Shape;73;p7">
            <a:extLst>
              <a:ext uri="{FF2B5EF4-FFF2-40B4-BE49-F238E27FC236}">
                <a16:creationId xmlns:a16="http://schemas.microsoft.com/office/drawing/2014/main" id="{0F5160F6-D95F-4BB1-8898-D0CC2F3D937B}"/>
              </a:ext>
            </a:extLst>
          </p:cNvPr>
          <p:cNvSpPr txBox="1"/>
          <p:nvPr/>
        </p:nvSpPr>
        <p:spPr>
          <a:xfrm>
            <a:off x="4763556" y="1351353"/>
            <a:ext cx="2843734" cy="17136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 algn="just"/>
            <a:r>
              <a:rPr lang="en-US" sz="1000" b="1" dirty="0">
                <a:solidFill>
                  <a:schemeClr val="accent1"/>
                </a:solidFill>
                <a:latin typeface="Catamaran"/>
                <a:cs typeface="Catamaran"/>
              </a:rPr>
              <a:t>Simulated Data</a:t>
            </a: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chemeClr val="accent1"/>
                </a:solidFill>
                <a:latin typeface="Catamaran"/>
                <a:cs typeface="Catamaran"/>
              </a:rPr>
              <a:t>Source</a:t>
            </a:r>
            <a:r>
              <a:rPr lang="en-US" sz="1000" dirty="0">
                <a:solidFill>
                  <a:schemeClr val="accent1"/>
                </a:solidFill>
                <a:latin typeface="Catamaran"/>
                <a:cs typeface="Catamaran"/>
              </a:rPr>
              <a:t>: Beta distribution</a:t>
            </a: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chemeClr val="accent1"/>
                </a:solidFill>
                <a:latin typeface="Catamaran"/>
                <a:cs typeface="Catamaran"/>
              </a:rPr>
              <a:t>Objective</a:t>
            </a:r>
            <a:r>
              <a:rPr lang="en-US" sz="1000" dirty="0">
                <a:solidFill>
                  <a:schemeClr val="accent1"/>
                </a:solidFill>
                <a:latin typeface="Catamaran"/>
                <a:cs typeface="Catamaran"/>
              </a:rPr>
              <a:t>: To study calibration in an idealized setting with known ground truth, we simulated 'model scores' from two distinct </a:t>
            </a:r>
            <a:r>
              <a:rPr lang="en-US" sz="1000" b="1" dirty="0">
                <a:solidFill>
                  <a:schemeClr val="accent1"/>
                </a:solidFill>
                <a:latin typeface="Catamaran"/>
                <a:cs typeface="Catamaran"/>
              </a:rPr>
              <a:t>Beta</a:t>
            </a:r>
            <a:r>
              <a:rPr lang="en-US" sz="1000" dirty="0">
                <a:solidFill>
                  <a:schemeClr val="accent1"/>
                </a:solidFill>
                <a:latin typeface="Catamaran"/>
                <a:cs typeface="Catamaran"/>
              </a:rPr>
              <a:t> distributions</a:t>
            </a: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chemeClr val="accent1"/>
                </a:solidFill>
                <a:latin typeface="Catamaran"/>
                <a:cs typeface="Catamaran"/>
              </a:rPr>
              <a:t>Size: </a:t>
            </a:r>
            <a:r>
              <a:rPr lang="en-US" sz="1000" dirty="0">
                <a:solidFill>
                  <a:schemeClr val="accent1"/>
                </a:solidFill>
                <a:latin typeface="Catamaran"/>
                <a:cs typeface="Catamaran"/>
              </a:rPr>
              <a:t>1,000 / 10,000 / 50,000</a:t>
            </a: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chemeClr val="accent1"/>
                </a:solidFill>
                <a:latin typeface="Catamaran"/>
                <a:cs typeface="Catamaran"/>
              </a:rPr>
              <a:t>Class Balance: </a:t>
            </a:r>
            <a:r>
              <a:rPr lang="en-US" sz="1000" dirty="0">
                <a:solidFill>
                  <a:schemeClr val="accent1"/>
                </a:solidFill>
                <a:latin typeface="Catamaran"/>
                <a:cs typeface="Catamaran"/>
              </a:rPr>
              <a:t>5%, 10%, 20%, 30%, 40%, 50%</a:t>
            </a:r>
          </a:p>
        </p:txBody>
      </p:sp>
      <p:sp>
        <p:nvSpPr>
          <p:cNvPr id="16" name="Google Shape;73;p7">
            <a:extLst>
              <a:ext uri="{FF2B5EF4-FFF2-40B4-BE49-F238E27FC236}">
                <a16:creationId xmlns:a16="http://schemas.microsoft.com/office/drawing/2014/main" id="{EB4EAC4C-5FA2-FA9D-8C1D-928294A4E954}"/>
              </a:ext>
            </a:extLst>
          </p:cNvPr>
          <p:cNvSpPr txBox="1"/>
          <p:nvPr/>
        </p:nvSpPr>
        <p:spPr>
          <a:xfrm>
            <a:off x="4307760" y="837303"/>
            <a:ext cx="726820" cy="3351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 algn="ctr" rtl="0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chemeClr val="bg1">
                    <a:lumMod val="95000"/>
                  </a:schemeClr>
                </a:solidFill>
                <a:latin typeface="Catamaran"/>
                <a:ea typeface="Catamaran"/>
                <a:cs typeface="Catamaran"/>
                <a:sym typeface="Catamaran"/>
              </a:rPr>
              <a:t>Data</a:t>
            </a:r>
            <a:endParaRPr lang="en-US" b="1" i="1" dirty="0">
              <a:solidFill>
                <a:schemeClr val="bg1">
                  <a:lumMod val="95000"/>
                </a:schemeClr>
              </a:solidFill>
              <a:latin typeface="Catamaran"/>
              <a:ea typeface="Catamaran"/>
              <a:cs typeface="Catamaran"/>
              <a:sym typeface="Catamaran"/>
            </a:endParaRPr>
          </a:p>
        </p:txBody>
      </p:sp>
    </p:spTree>
    <p:extLst>
      <p:ext uri="{BB962C8B-B14F-4D97-AF65-F5344CB8AC3E}">
        <p14:creationId xmlns:p14="http://schemas.microsoft.com/office/powerpoint/2010/main" val="10431564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7"/>
          <p:cNvSpPr txBox="1">
            <a:spLocks noGrp="1"/>
          </p:cNvSpPr>
          <p:nvPr>
            <p:ph type="title"/>
          </p:nvPr>
        </p:nvSpPr>
        <p:spPr>
          <a:xfrm>
            <a:off x="836507" y="2036550"/>
            <a:ext cx="2632407" cy="53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it" dirty="0"/>
              <a:t>Agenda</a:t>
            </a:r>
            <a:endParaRPr dirty="0"/>
          </a:p>
        </p:txBody>
      </p:sp>
      <p:sp>
        <p:nvSpPr>
          <p:cNvPr id="71" name="Google Shape;71;p7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/>
              <a:t>13</a:t>
            </a:fld>
            <a:endParaRPr/>
          </a:p>
        </p:txBody>
      </p:sp>
      <p:sp>
        <p:nvSpPr>
          <p:cNvPr id="72" name="Google Shape;72;p7"/>
          <p:cNvSpPr txBox="1">
            <a:spLocks noGrp="1"/>
          </p:cNvSpPr>
          <p:nvPr>
            <p:ph type="subTitle" idx="2"/>
          </p:nvPr>
        </p:nvSpPr>
        <p:spPr>
          <a:xfrm>
            <a:off x="1438444" y="4779051"/>
            <a:ext cx="7372208" cy="36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it" dirty="0"/>
              <a:t>Statistical Learning - </a:t>
            </a:r>
            <a:r>
              <a:rPr lang="en-US" sz="900" dirty="0"/>
              <a:t>The Importance of Being Calibrated: A Study on Probability Calibration and Interval Estimation for Binary Classification</a:t>
            </a:r>
            <a:endParaRPr sz="900" dirty="0"/>
          </a:p>
        </p:txBody>
      </p:sp>
      <p:pic>
        <p:nvPicPr>
          <p:cNvPr id="3" name="Picture 2" descr="A credit score gauge with a needle and a needle&#10;&#10;Description automatically generated with medium confidence">
            <a:extLst>
              <a:ext uri="{FF2B5EF4-FFF2-40B4-BE49-F238E27FC236}">
                <a16:creationId xmlns:a16="http://schemas.microsoft.com/office/drawing/2014/main" id="{9FCF091F-D737-673B-5DF8-C50E86D44B9B}"/>
              </a:ext>
            </a:extLst>
          </p:cNvPr>
          <p:cNvPicPr>
            <a:picLocks noChangeAspect="1"/>
          </p:cNvPicPr>
          <p:nvPr/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030" y="1838522"/>
            <a:ext cx="3875320" cy="217855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8C92F66-DD98-00C1-7C0B-03704970C3A5}"/>
              </a:ext>
            </a:extLst>
          </p:cNvPr>
          <p:cNvSpPr/>
          <p:nvPr/>
        </p:nvSpPr>
        <p:spPr>
          <a:xfrm>
            <a:off x="4215460" y="495937"/>
            <a:ext cx="4869542" cy="4307386"/>
          </a:xfrm>
          <a:prstGeom prst="rect">
            <a:avLst/>
          </a:prstGeom>
          <a:solidFill>
            <a:schemeClr val="bg2">
              <a:lumMod val="50000"/>
              <a:lumOff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A9F4115F-1744-27F1-D226-BAC0AD24BF02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4528427" y="888657"/>
            <a:ext cx="4383753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Introduction &amp; Motivation: Can We Trust a Model's Confidence?</a:t>
            </a:r>
            <a:endParaRPr lang="en-US" sz="1200" b="1" dirty="0">
              <a:solidFill>
                <a:schemeClr val="tx2"/>
              </a:solidFill>
              <a:latin typeface="Catamaran" panose="020B0604020202020204" charset="0"/>
              <a:cs typeface="Catamaran" panose="020B0604020202020204" charset="0"/>
            </a:endParaRPr>
          </a:p>
        </p:txBody>
      </p:sp>
      <p:sp>
        <p:nvSpPr>
          <p:cNvPr id="9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5F05BD8C-75CB-F6C3-0243-14FC44DD4137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4528427" y="1251873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Accuracy is Not Enough: Discrimination vs. Calibration</a:t>
            </a:r>
          </a:p>
        </p:txBody>
      </p:sp>
      <p:sp>
        <p:nvSpPr>
          <p:cNvPr id="10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123AAC5C-157B-3B55-1942-784B8E41094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4541030" y="1576677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Calibration Methods: Platt, Isotonic, and Venn-</a:t>
            </a:r>
            <a:r>
              <a:rPr lang="en-US" sz="1200" b="1" dirty="0" err="1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Abers</a:t>
            </a:r>
            <a:endParaRPr lang="en-US" sz="1200" b="1" dirty="0">
              <a:solidFill>
                <a:schemeClr val="tx2"/>
              </a:solidFill>
              <a:latin typeface="Catamaran" panose="020B0604020202020204" charset="0"/>
              <a:cs typeface="Catamaran" panose="020B0604020202020204" charset="0"/>
            </a:endParaRPr>
          </a:p>
        </p:txBody>
      </p:sp>
      <p:sp>
        <p:nvSpPr>
          <p:cNvPr id="11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B1D71953-C189-D7AC-2058-78E041D15A4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541030" y="1895304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Our Dataset &amp; Experimental Setup</a:t>
            </a:r>
          </a:p>
        </p:txBody>
      </p:sp>
      <p:sp>
        <p:nvSpPr>
          <p:cNvPr id="2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B9483475-6B13-5D88-E5DA-364A402874D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541030" y="2195584"/>
            <a:ext cx="3771900" cy="342900"/>
          </a:xfrm>
          <a:prstGeom prst="rect">
            <a:avLst/>
          </a:prstGeom>
          <a:solidFill>
            <a:srgbClr val="AD0505"/>
          </a:solidFill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1200" b="1" kern="1200" dirty="0">
                <a:solidFill>
                  <a:schemeClr val="bg1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Credit Risk Data Preparation</a:t>
            </a:r>
          </a:p>
        </p:txBody>
      </p:sp>
      <p:sp>
        <p:nvSpPr>
          <p:cNvPr id="5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4D24E2A4-6D94-D815-011C-BAA1A62F5CE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571999" y="2549209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Results on Credit Risk Data: Accuracy vs. Calibration</a:t>
            </a:r>
          </a:p>
        </p:txBody>
      </p:sp>
      <p:sp>
        <p:nvSpPr>
          <p:cNvPr id="6" name="Text Placeholder 4">
            <a:hlinkClick r:id="rId16" action="ppaction://hlinksldjump"/>
            <a:extLst>
              <a:ext uri="{FF2B5EF4-FFF2-40B4-BE49-F238E27FC236}">
                <a16:creationId xmlns:a16="http://schemas.microsoft.com/office/drawing/2014/main" id="{C2B4952A-8A57-D05F-3B50-2CEFE72A6D9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571999" y="2867988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Simulated Data Generation</a:t>
            </a:r>
          </a:p>
        </p:txBody>
      </p:sp>
      <p:sp>
        <p:nvSpPr>
          <p:cNvPr id="7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EA41B23B-5539-B73B-D142-61DFF193CB5C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571999" y="3203114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Results on Simulated Data</a:t>
            </a:r>
          </a:p>
        </p:txBody>
      </p:sp>
      <p:sp>
        <p:nvSpPr>
          <p:cNvPr id="12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325B2701-BD25-5A24-828A-83B799D3CA3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571999" y="3523363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Probability Intervals</a:t>
            </a:r>
          </a:p>
        </p:txBody>
      </p:sp>
      <p:sp>
        <p:nvSpPr>
          <p:cNvPr id="13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F01DA9CA-794C-F524-1E5D-32A8A79BE53E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571999" y="4111396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References</a:t>
            </a:r>
          </a:p>
        </p:txBody>
      </p:sp>
      <p:sp>
        <p:nvSpPr>
          <p:cNvPr id="14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22F063E4-4560-D8D6-F089-D6DE28E564A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571999" y="3824320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Conclusion &amp; Key Takeaways</a:t>
            </a:r>
          </a:p>
        </p:txBody>
      </p:sp>
    </p:spTree>
    <p:extLst>
      <p:ext uri="{BB962C8B-B14F-4D97-AF65-F5344CB8AC3E}">
        <p14:creationId xmlns:p14="http://schemas.microsoft.com/office/powerpoint/2010/main" val="27336807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9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/>
              <a:t>14</a:t>
            </a:fld>
            <a:endParaRPr/>
          </a:p>
        </p:txBody>
      </p:sp>
      <p:sp>
        <p:nvSpPr>
          <p:cNvPr id="90" name="Google Shape;90;p9"/>
          <p:cNvSpPr txBox="1">
            <a:spLocks noGrp="1"/>
          </p:cNvSpPr>
          <p:nvPr>
            <p:ph type="subTitle" idx="2"/>
          </p:nvPr>
        </p:nvSpPr>
        <p:spPr>
          <a:xfrm>
            <a:off x="1711361" y="4693841"/>
            <a:ext cx="6775019" cy="3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n-US" dirty="0"/>
              <a:t>Statistical Learning - </a:t>
            </a:r>
            <a:r>
              <a:rPr lang="en-US" sz="900" dirty="0"/>
              <a:t>The Importance of Being Calibrated: A Study on Probability Calibration and Interval Estimation for Binary Classification</a:t>
            </a:r>
          </a:p>
          <a:p>
            <a:pPr marL="0" lvl="0" indent="0" algn="l" rtl="0">
              <a:spcBef>
                <a:spcPts val="1600"/>
              </a:spcBef>
              <a:spcAft>
                <a:spcPts val="1600"/>
              </a:spcAft>
              <a:buNone/>
            </a:pP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85ADF3-28BD-2A24-A8C2-94E938105C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6413" y="977171"/>
            <a:ext cx="3410010" cy="3500798"/>
          </a:xfrm>
          <a:ln>
            <a:solidFill>
              <a:srgbClr val="C00000"/>
            </a:solidFill>
          </a:ln>
        </p:spPr>
        <p:txBody>
          <a:bodyPr/>
          <a:lstStyle/>
          <a:p>
            <a:pPr marL="488950" indent="-342900">
              <a:buFont typeface="+mj-lt"/>
              <a:buAutoNum type="arabicPeriod"/>
            </a:pPr>
            <a:r>
              <a:rPr lang="en-US" sz="1100" b="1" dirty="0"/>
              <a:t>EDA:  </a:t>
            </a:r>
            <a:r>
              <a:rPr lang="en-US" sz="1000" dirty="0"/>
              <a:t>Before any data preprocessing we explored our dataset.</a:t>
            </a:r>
          </a:p>
          <a:p>
            <a:pPr marL="488950" indent="-342900">
              <a:buFont typeface="+mj-lt"/>
              <a:buAutoNum type="arabicPeriod"/>
            </a:pPr>
            <a:endParaRPr lang="en-US" sz="1000" dirty="0"/>
          </a:p>
          <a:p>
            <a:pPr marL="488950" indent="-342900">
              <a:buFont typeface="+mj-lt"/>
              <a:buAutoNum type="arabicPeriod"/>
            </a:pPr>
            <a:r>
              <a:rPr lang="en-US" sz="1100" b="1" dirty="0"/>
              <a:t>Dataset Split</a:t>
            </a:r>
            <a:r>
              <a:rPr lang="en-US" sz="1000" dirty="0"/>
              <a:t>: The dataset was first divided into three sets: training, validation, and test.</a:t>
            </a:r>
          </a:p>
          <a:p>
            <a:pPr marL="488950" indent="-342900">
              <a:buFont typeface="+mj-lt"/>
              <a:buAutoNum type="arabicPeriod"/>
            </a:pPr>
            <a:endParaRPr lang="en-US" sz="1000" dirty="0"/>
          </a:p>
          <a:p>
            <a:pPr marL="488950" indent="-342900">
              <a:buFont typeface="+mj-lt"/>
              <a:buAutoNum type="arabicPeriod"/>
            </a:pPr>
            <a:r>
              <a:rPr lang="en-US" sz="1100" b="1" dirty="0"/>
              <a:t>Outlier Capping</a:t>
            </a:r>
            <a:r>
              <a:rPr lang="en-US" sz="1000" dirty="0"/>
              <a:t>: We capped outlier values in the features to reduce their impact on model performance.</a:t>
            </a:r>
          </a:p>
          <a:p>
            <a:pPr marL="488950" indent="-342900">
              <a:buFont typeface="+mj-lt"/>
              <a:buAutoNum type="arabicPeriod"/>
            </a:pPr>
            <a:endParaRPr lang="en-US" sz="1000" dirty="0"/>
          </a:p>
          <a:p>
            <a:pPr marL="488950" indent="-342900">
              <a:buFont typeface="+mj-lt"/>
              <a:buAutoNum type="arabicPeriod"/>
            </a:pPr>
            <a:r>
              <a:rPr lang="en-US" sz="1100" b="1" dirty="0"/>
              <a:t>Missing Value Imputation</a:t>
            </a:r>
            <a:r>
              <a:rPr lang="en-US" sz="1000" dirty="0"/>
              <a:t>: Missing values in the dataset were handled by applying appropriate imputation methods to ensure data completeness.</a:t>
            </a:r>
          </a:p>
          <a:p>
            <a:pPr marL="488950" indent="-342900">
              <a:buFont typeface="+mj-lt"/>
              <a:buAutoNum type="arabicPeriod"/>
            </a:pPr>
            <a:endParaRPr lang="en-US" sz="1000" dirty="0"/>
          </a:p>
          <a:p>
            <a:pPr marL="488950" indent="-342900">
              <a:buFont typeface="+mj-lt"/>
              <a:buAutoNum type="arabicPeriod"/>
            </a:pPr>
            <a:r>
              <a:rPr lang="en-US" sz="1100" b="1" dirty="0"/>
              <a:t>Target Encoding for Categorical Features</a:t>
            </a:r>
            <a:r>
              <a:rPr lang="en-US" sz="1000" dirty="0"/>
              <a:t>: Categorical features were encoded using target encoding, where the mean of the target variable for each category was used to represent the categorical feature.</a:t>
            </a:r>
          </a:p>
        </p:txBody>
      </p:sp>
      <p:pic>
        <p:nvPicPr>
          <p:cNvPr id="17" name="Picture 16" descr="A graph showing different colored squares&#10;&#10;Description automatically generated">
            <a:extLst>
              <a:ext uri="{FF2B5EF4-FFF2-40B4-BE49-F238E27FC236}">
                <a16:creationId xmlns:a16="http://schemas.microsoft.com/office/drawing/2014/main" id="{2ABFC330-F292-A87E-BF09-00C512D607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0" y="922936"/>
            <a:ext cx="1984419" cy="1482035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A762BE9E-F08C-ADBC-8D4C-A46084B9566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39654" y="2498732"/>
            <a:ext cx="2448844" cy="1847428"/>
          </a:xfrm>
          <a:prstGeom prst="rect">
            <a:avLst/>
          </a:prstGeom>
        </p:spPr>
      </p:pic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3C3090F-D931-5531-7C77-C8012AB2E9EF}"/>
              </a:ext>
            </a:extLst>
          </p:cNvPr>
          <p:cNvCxnSpPr>
            <a:cxnSpLocks/>
          </p:cNvCxnSpPr>
          <p:nvPr/>
        </p:nvCxnSpPr>
        <p:spPr>
          <a:xfrm>
            <a:off x="4402442" y="908504"/>
            <a:ext cx="0" cy="3638132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21FEE611-0FE8-3F3D-2387-E74144A48DFA}"/>
              </a:ext>
            </a:extLst>
          </p:cNvPr>
          <p:cNvSpPr txBox="1"/>
          <p:nvPr/>
        </p:nvSpPr>
        <p:spPr>
          <a:xfrm>
            <a:off x="4784227" y="1676984"/>
            <a:ext cx="832553" cy="4991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450" dirty="0" err="1">
                <a:solidFill>
                  <a:schemeClr val="accent1"/>
                </a:solidFill>
                <a:latin typeface="Catamaran"/>
                <a:cs typeface="Catamaran"/>
                <a:sym typeface="Catamaran"/>
              </a:rPr>
              <a:t>home_ownership</a:t>
            </a:r>
            <a:r>
              <a:rPr lang="en-US" sz="450" dirty="0">
                <a:solidFill>
                  <a:schemeClr val="accent1"/>
                </a:solidFill>
                <a:latin typeface="Catamaran"/>
                <a:cs typeface="Catamaran"/>
                <a:sym typeface="Catamaran"/>
              </a:rPr>
              <a:t>;</a:t>
            </a:r>
          </a:p>
          <a:p>
            <a:pPr>
              <a:lnSpc>
                <a:spcPct val="150000"/>
              </a:lnSpc>
            </a:pPr>
            <a:r>
              <a:rPr lang="en-US" sz="450" dirty="0" err="1">
                <a:solidFill>
                  <a:schemeClr val="accent1"/>
                </a:solidFill>
                <a:latin typeface="Catamaran"/>
                <a:cs typeface="Catamaran"/>
                <a:sym typeface="Catamaran"/>
              </a:rPr>
              <a:t>loan_intent</a:t>
            </a:r>
            <a:r>
              <a:rPr lang="en-US" sz="450" dirty="0">
                <a:solidFill>
                  <a:schemeClr val="accent1"/>
                </a:solidFill>
                <a:latin typeface="Catamaran"/>
                <a:cs typeface="Catamaran"/>
                <a:sym typeface="Catamaran"/>
              </a:rPr>
              <a:t>;</a:t>
            </a:r>
          </a:p>
          <a:p>
            <a:pPr>
              <a:lnSpc>
                <a:spcPct val="150000"/>
              </a:lnSpc>
            </a:pPr>
            <a:r>
              <a:rPr lang="en-US" sz="450" dirty="0" err="1">
                <a:solidFill>
                  <a:schemeClr val="accent1"/>
                </a:solidFill>
                <a:latin typeface="Catamaran"/>
                <a:cs typeface="Catamaran"/>
                <a:sym typeface="Catamaran"/>
              </a:rPr>
              <a:t>loan_grade</a:t>
            </a:r>
            <a:r>
              <a:rPr lang="en-US" sz="450" dirty="0">
                <a:solidFill>
                  <a:schemeClr val="accent1"/>
                </a:solidFill>
                <a:latin typeface="Catamaran"/>
                <a:cs typeface="Catamaran"/>
                <a:sym typeface="Catamaran"/>
              </a:rPr>
              <a:t>;</a:t>
            </a:r>
          </a:p>
          <a:p>
            <a:pPr>
              <a:lnSpc>
                <a:spcPct val="150000"/>
              </a:lnSpc>
            </a:pPr>
            <a:r>
              <a:rPr lang="en-US" sz="450" dirty="0" err="1">
                <a:solidFill>
                  <a:schemeClr val="accent1"/>
                </a:solidFill>
                <a:latin typeface="Catamaran"/>
                <a:cs typeface="Catamaran"/>
                <a:sym typeface="Catamaran"/>
              </a:rPr>
              <a:t>cb_person_default_on_file</a:t>
            </a:r>
            <a:endParaRPr lang="en-US" sz="450" dirty="0">
              <a:solidFill>
                <a:schemeClr val="accent1"/>
              </a:solidFill>
              <a:latin typeface="Catamaran"/>
              <a:cs typeface="Catamaran"/>
              <a:sym typeface="Catamaran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C72BC9F-F191-0256-22C6-28EFC22B830A}"/>
              </a:ext>
            </a:extLst>
          </p:cNvPr>
          <p:cNvSpPr txBox="1"/>
          <p:nvPr/>
        </p:nvSpPr>
        <p:spPr>
          <a:xfrm>
            <a:off x="5669599" y="1271584"/>
            <a:ext cx="886820" cy="8107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450" dirty="0" err="1">
                <a:solidFill>
                  <a:schemeClr val="accent1"/>
                </a:solidFill>
                <a:latin typeface="Catamaran"/>
                <a:cs typeface="Catamaran"/>
                <a:sym typeface="Catamaran"/>
              </a:rPr>
              <a:t>person_age</a:t>
            </a:r>
            <a:r>
              <a:rPr lang="en-US" sz="450" dirty="0">
                <a:solidFill>
                  <a:schemeClr val="accent1"/>
                </a:solidFill>
                <a:latin typeface="Catamaran"/>
                <a:cs typeface="Catamaran"/>
                <a:sym typeface="Catamaran"/>
              </a:rPr>
              <a:t>;</a:t>
            </a:r>
          </a:p>
          <a:p>
            <a:pPr>
              <a:lnSpc>
                <a:spcPct val="150000"/>
              </a:lnSpc>
            </a:pPr>
            <a:r>
              <a:rPr lang="en-US" sz="450" dirty="0" err="1">
                <a:solidFill>
                  <a:schemeClr val="accent1"/>
                </a:solidFill>
                <a:latin typeface="Catamaran"/>
                <a:cs typeface="Catamaran"/>
                <a:sym typeface="Catamaran"/>
              </a:rPr>
              <a:t>person_income</a:t>
            </a:r>
            <a:r>
              <a:rPr lang="en-US" sz="450" dirty="0">
                <a:solidFill>
                  <a:schemeClr val="accent1"/>
                </a:solidFill>
                <a:latin typeface="Catamaran"/>
                <a:cs typeface="Catamaran"/>
                <a:sym typeface="Catamaran"/>
              </a:rPr>
              <a:t>;</a:t>
            </a:r>
          </a:p>
          <a:p>
            <a:pPr>
              <a:lnSpc>
                <a:spcPct val="150000"/>
              </a:lnSpc>
            </a:pPr>
            <a:r>
              <a:rPr lang="en-US" sz="450" dirty="0" err="1">
                <a:solidFill>
                  <a:schemeClr val="accent1"/>
                </a:solidFill>
                <a:latin typeface="Catamaran"/>
                <a:cs typeface="Catamaran"/>
                <a:sym typeface="Catamaran"/>
              </a:rPr>
              <a:t>person_emp_length</a:t>
            </a:r>
            <a:r>
              <a:rPr lang="en-US" sz="450" dirty="0">
                <a:solidFill>
                  <a:schemeClr val="accent1"/>
                </a:solidFill>
                <a:latin typeface="Catamaran"/>
                <a:cs typeface="Catamaran"/>
                <a:sym typeface="Catamaran"/>
              </a:rPr>
              <a:t>;</a:t>
            </a:r>
          </a:p>
          <a:p>
            <a:pPr>
              <a:lnSpc>
                <a:spcPct val="150000"/>
              </a:lnSpc>
            </a:pPr>
            <a:r>
              <a:rPr lang="en-US" sz="450" dirty="0" err="1">
                <a:solidFill>
                  <a:schemeClr val="accent1"/>
                </a:solidFill>
                <a:latin typeface="Catamaran"/>
                <a:cs typeface="Catamaran"/>
                <a:sym typeface="Catamaran"/>
              </a:rPr>
              <a:t>loan_amnt</a:t>
            </a:r>
            <a:r>
              <a:rPr lang="en-US" sz="450" dirty="0">
                <a:solidFill>
                  <a:schemeClr val="accent1"/>
                </a:solidFill>
                <a:latin typeface="Catamaran"/>
                <a:cs typeface="Catamaran"/>
                <a:sym typeface="Catamaran"/>
              </a:rPr>
              <a:t>;</a:t>
            </a:r>
          </a:p>
          <a:p>
            <a:pPr>
              <a:lnSpc>
                <a:spcPct val="150000"/>
              </a:lnSpc>
            </a:pPr>
            <a:r>
              <a:rPr lang="en-US" sz="450" dirty="0" err="1">
                <a:solidFill>
                  <a:schemeClr val="accent1"/>
                </a:solidFill>
                <a:latin typeface="Catamaran"/>
                <a:cs typeface="Catamaran"/>
                <a:sym typeface="Catamaran"/>
              </a:rPr>
              <a:t>loan_int_rate</a:t>
            </a:r>
            <a:r>
              <a:rPr lang="en-US" sz="450" dirty="0">
                <a:solidFill>
                  <a:schemeClr val="accent1"/>
                </a:solidFill>
                <a:latin typeface="Catamaran"/>
                <a:cs typeface="Catamaran"/>
                <a:sym typeface="Catamaran"/>
              </a:rPr>
              <a:t>;</a:t>
            </a:r>
          </a:p>
          <a:p>
            <a:pPr>
              <a:lnSpc>
                <a:spcPct val="150000"/>
              </a:lnSpc>
            </a:pPr>
            <a:r>
              <a:rPr lang="en-US" sz="450" dirty="0" err="1">
                <a:solidFill>
                  <a:schemeClr val="accent1"/>
                </a:solidFill>
                <a:latin typeface="Catamaran"/>
                <a:cs typeface="Catamaran"/>
                <a:sym typeface="Catamaran"/>
              </a:rPr>
              <a:t>loan_percent_income</a:t>
            </a:r>
            <a:r>
              <a:rPr lang="en-US" sz="450" dirty="0">
                <a:solidFill>
                  <a:schemeClr val="accent1"/>
                </a:solidFill>
                <a:latin typeface="Catamaran"/>
                <a:cs typeface="Catamaran"/>
                <a:sym typeface="Catamaran"/>
              </a:rPr>
              <a:t>;</a:t>
            </a:r>
          </a:p>
          <a:p>
            <a:pPr>
              <a:lnSpc>
                <a:spcPct val="150000"/>
              </a:lnSpc>
            </a:pPr>
            <a:r>
              <a:rPr lang="en-US" sz="450" dirty="0" err="1">
                <a:solidFill>
                  <a:schemeClr val="accent1"/>
                </a:solidFill>
                <a:latin typeface="Catamaran"/>
                <a:cs typeface="Catamaran"/>
                <a:sym typeface="Catamaran"/>
              </a:rPr>
              <a:t>cb_person_cred_hist_length</a:t>
            </a:r>
            <a:r>
              <a:rPr lang="en-US" sz="450" dirty="0">
                <a:solidFill>
                  <a:schemeClr val="accent1"/>
                </a:solidFill>
                <a:latin typeface="Catamaran"/>
                <a:cs typeface="Catamaran"/>
                <a:sym typeface="Catamaran"/>
              </a:rPr>
              <a:t>;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302F970-8DA1-794D-C184-C6241054F2EB}"/>
              </a:ext>
            </a:extLst>
          </p:cNvPr>
          <p:cNvSpPr/>
          <p:nvPr/>
        </p:nvSpPr>
        <p:spPr>
          <a:xfrm>
            <a:off x="472339" y="58549"/>
            <a:ext cx="407676" cy="383512"/>
          </a:xfrm>
          <a:prstGeom prst="ellipse">
            <a:avLst/>
          </a:prstGeom>
          <a:solidFill>
            <a:srgbClr val="AD0505"/>
          </a:solidFill>
          <a:ln>
            <a:solidFill>
              <a:srgbClr val="AD050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Google Shape;70;p7">
            <a:extLst>
              <a:ext uri="{FF2B5EF4-FFF2-40B4-BE49-F238E27FC236}">
                <a16:creationId xmlns:a16="http://schemas.microsoft.com/office/drawing/2014/main" id="{C65463CC-4A7C-13C9-1895-A7B5B3E5B1F9}"/>
              </a:ext>
            </a:extLst>
          </p:cNvPr>
          <p:cNvSpPr txBox="1">
            <a:spLocks/>
          </p:cNvSpPr>
          <p:nvPr/>
        </p:nvSpPr>
        <p:spPr>
          <a:xfrm>
            <a:off x="558092" y="58549"/>
            <a:ext cx="7688700" cy="53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Catamaran"/>
              <a:buNone/>
              <a:defRPr sz="2600" b="1" i="0" u="none" strike="noStrike" cap="none">
                <a:solidFill>
                  <a:schemeClr val="dk2"/>
                </a:solidFill>
                <a:latin typeface="Catamaran"/>
                <a:ea typeface="Catamaran"/>
                <a:cs typeface="Catamaran"/>
                <a:sym typeface="Catamara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r>
              <a:rPr lang="en-US" sz="1600" dirty="0"/>
              <a:t>Credit Risk Data Preparatio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1DEA98E-DD72-0916-EFC4-0FBDE03931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28912" y="935707"/>
            <a:ext cx="1919172" cy="1482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35286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9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/>
              <a:t>15</a:t>
            </a:fld>
            <a:endParaRPr/>
          </a:p>
        </p:txBody>
      </p:sp>
      <p:sp>
        <p:nvSpPr>
          <p:cNvPr id="90" name="Google Shape;90;p9"/>
          <p:cNvSpPr txBox="1">
            <a:spLocks noGrp="1"/>
          </p:cNvSpPr>
          <p:nvPr>
            <p:ph type="subTitle" idx="2"/>
          </p:nvPr>
        </p:nvSpPr>
        <p:spPr>
          <a:xfrm>
            <a:off x="1411038" y="4749851"/>
            <a:ext cx="6912505" cy="3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n-US" dirty="0"/>
              <a:t>Statistical Learning - </a:t>
            </a:r>
            <a:r>
              <a:rPr lang="en-US" sz="900" dirty="0"/>
              <a:t>The Importance of Being Calibrated: A Study on Probability Calibration and Interval Estimation for Binary Classification</a:t>
            </a:r>
          </a:p>
          <a:p>
            <a:pPr marL="0" lvl="0" indent="0" algn="l" rtl="0">
              <a:spcBef>
                <a:spcPts val="1600"/>
              </a:spcBef>
              <a:spcAft>
                <a:spcPts val="1600"/>
              </a:spcAft>
              <a:buNone/>
            </a:pPr>
            <a:endParaRPr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85ADF3-28BD-2A24-A8C2-94E938105C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7650" y="1583023"/>
            <a:ext cx="3410010" cy="2282719"/>
          </a:xfrm>
          <a:ln>
            <a:solidFill>
              <a:srgbClr val="C00000"/>
            </a:solidFill>
          </a:ln>
        </p:spPr>
        <p:txBody>
          <a:bodyPr/>
          <a:lstStyle/>
          <a:p>
            <a:pPr marL="488950" indent="-342900">
              <a:buFont typeface="+mj-lt"/>
              <a:buAutoNum type="arabicPeriod"/>
            </a:pPr>
            <a:r>
              <a:rPr lang="en-US" sz="1100" b="1" dirty="0"/>
              <a:t>Correlation Analysis</a:t>
            </a:r>
            <a:r>
              <a:rPr lang="en-US" sz="1100" dirty="0"/>
              <a:t>:</a:t>
            </a:r>
            <a:r>
              <a:rPr lang="en-US" sz="1400" dirty="0"/>
              <a:t> </a:t>
            </a:r>
            <a:r>
              <a:rPr lang="en-US" sz="1000" dirty="0"/>
              <a:t>We calculated the correlations between features and identified highly correlated ones. Features with high correlation were dropped based on their relevance and interpretability.</a:t>
            </a:r>
          </a:p>
          <a:p>
            <a:pPr marL="488950" indent="-342900">
              <a:buFont typeface="+mj-lt"/>
              <a:buAutoNum type="arabicPeriod"/>
            </a:pPr>
            <a:endParaRPr lang="en-US" sz="1000" dirty="0"/>
          </a:p>
          <a:p>
            <a:pPr marL="488950" indent="-342900">
              <a:buFont typeface="+mj-lt"/>
              <a:buAutoNum type="arabicPeriod"/>
            </a:pPr>
            <a:r>
              <a:rPr lang="en-US" sz="1100" b="1" dirty="0"/>
              <a:t>Stability Check with PSI</a:t>
            </a:r>
            <a:r>
              <a:rPr lang="en-US" sz="1100" dirty="0"/>
              <a:t>: </a:t>
            </a:r>
            <a:r>
              <a:rPr lang="en-US" sz="1000" dirty="0"/>
              <a:t>To ensure feature stability, we used </a:t>
            </a:r>
            <a:r>
              <a:rPr lang="en-US" sz="1000" b="1" dirty="0"/>
              <a:t>Population Stability Index (PSI)</a:t>
            </a:r>
            <a:r>
              <a:rPr lang="en-US" sz="1000" dirty="0"/>
              <a:t> to compare feature distributions across the training and validation sets. This helped us identify features that might cause data drift or instability.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69E99013-16C5-9FE4-8C15-B47F3B55D9E3}"/>
              </a:ext>
            </a:extLst>
          </p:cNvPr>
          <p:cNvCxnSpPr>
            <a:cxnSpLocks/>
          </p:cNvCxnSpPr>
          <p:nvPr/>
        </p:nvCxnSpPr>
        <p:spPr>
          <a:xfrm>
            <a:off x="4442068" y="871775"/>
            <a:ext cx="0" cy="3638132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35C7393-9807-E632-4D38-43DD96C32F6C}"/>
              </a:ext>
            </a:extLst>
          </p:cNvPr>
          <p:cNvSpPr txBox="1">
            <a:spLocks/>
          </p:cNvSpPr>
          <p:nvPr/>
        </p:nvSpPr>
        <p:spPr>
          <a:xfrm>
            <a:off x="5309740" y="3688441"/>
            <a:ext cx="3156236" cy="87116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Catamaran"/>
              <a:buChar char="●"/>
              <a:defRPr sz="1300" b="0" i="0" u="none" strike="noStrike" cap="none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1pPr>
            <a:lvl2pPr marL="914400" marR="0" lvl="1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Catamaran"/>
              <a:buChar char="○"/>
              <a:defRPr sz="1100" b="0" i="0" u="none" strike="noStrike" cap="none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2pPr>
            <a:lvl3pPr marL="1371600" marR="0" lvl="2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Catamaran"/>
              <a:buChar char="■"/>
              <a:defRPr sz="1100" b="0" i="0" u="none" strike="noStrike" cap="none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3pPr>
            <a:lvl4pPr marL="1828800" marR="0" lvl="3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Catamaran"/>
              <a:buChar char="●"/>
              <a:defRPr sz="1100" b="0" i="0" u="none" strike="noStrike" cap="none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4pPr>
            <a:lvl5pPr marL="2286000" marR="0" lvl="4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Catamaran"/>
              <a:buChar char="○"/>
              <a:defRPr sz="1100" b="0" i="0" u="none" strike="noStrike" cap="none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5pPr>
            <a:lvl6pPr marL="2743200" marR="0" lvl="5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Catamaran"/>
              <a:buChar char="■"/>
              <a:defRPr sz="1100" b="0" i="0" u="none" strike="noStrike" cap="none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6pPr>
            <a:lvl7pPr marL="3200400" marR="0" lvl="6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Catamaran"/>
              <a:buChar char="●"/>
              <a:defRPr sz="1100" b="0" i="0" u="none" strike="noStrike" cap="none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7pPr>
            <a:lvl8pPr marL="3657600" marR="0" lvl="7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Catamaran"/>
              <a:buChar char="○"/>
              <a:defRPr sz="1100" b="0" i="0" u="none" strike="noStrike" cap="none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8pPr>
            <a:lvl9pPr marL="4114800" marR="0" lvl="8" indent="-29845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accent1"/>
              </a:buClr>
              <a:buSzPts val="1100"/>
              <a:buFont typeface="Catamaran"/>
              <a:buChar char="■"/>
              <a:defRPr sz="1100" b="0" i="0" u="none" strike="noStrike" cap="none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9pPr>
          </a:lstStyle>
          <a:p>
            <a:pPr marL="488950" indent="-342900">
              <a:buFont typeface="+mj-lt"/>
              <a:buAutoNum type="arabicPeriod"/>
            </a:pPr>
            <a:r>
              <a:rPr lang="en-US" sz="1100" b="1" dirty="0"/>
              <a:t>Correlation exclusion:</a:t>
            </a:r>
            <a:r>
              <a:rPr lang="en-US" sz="1000" b="1" dirty="0"/>
              <a:t>  </a:t>
            </a:r>
            <a:r>
              <a:rPr lang="en-US" sz="1000" dirty="0">
                <a:solidFill>
                  <a:schemeClr val="bg2"/>
                </a:solidFill>
                <a:latin typeface="Consolas" panose="020B0609020204030204" pitchFamily="49" charset="0"/>
              </a:rPr>
              <a:t>‘</a:t>
            </a:r>
            <a:r>
              <a:rPr lang="en-US" sz="1000" dirty="0" err="1">
                <a:solidFill>
                  <a:srgbClr val="CE9178"/>
                </a:solidFill>
                <a:latin typeface="Consolas" panose="020B0609020204030204" pitchFamily="49" charset="0"/>
              </a:rPr>
              <a:t>person_age</a:t>
            </a:r>
            <a:r>
              <a:rPr lang="en-US" sz="1000" dirty="0">
                <a:solidFill>
                  <a:schemeClr val="bg2"/>
                </a:solidFill>
                <a:latin typeface="Consolas" panose="020B0609020204030204" pitchFamily="49" charset="0"/>
              </a:rPr>
              <a:t>’</a:t>
            </a:r>
            <a:r>
              <a:rPr lang="en-US" sz="1000" b="1" dirty="0">
                <a:solidFill>
                  <a:schemeClr val="bg2"/>
                </a:solidFill>
                <a:latin typeface="Consolas" panose="020B0609020204030204" pitchFamily="49" charset="0"/>
              </a:rPr>
              <a:t> , ‘</a:t>
            </a:r>
            <a:r>
              <a:rPr lang="en-US" sz="1000" b="0" dirty="0" err="1">
                <a:solidFill>
                  <a:srgbClr val="CE9178"/>
                </a:solidFill>
                <a:effectLst/>
                <a:latin typeface="Consolas" panose="020B0609020204030204" pitchFamily="49" charset="0"/>
              </a:rPr>
              <a:t>loan_int_rate</a:t>
            </a:r>
            <a:r>
              <a:rPr lang="en-US" sz="1000" b="0" dirty="0">
                <a:solidFill>
                  <a:schemeClr val="bg2"/>
                </a:solidFill>
                <a:effectLst/>
                <a:latin typeface="Consolas" panose="020B0609020204030204" pitchFamily="49" charset="0"/>
              </a:rPr>
              <a:t>’</a:t>
            </a:r>
          </a:p>
          <a:p>
            <a:pPr marL="488950" indent="-342900">
              <a:buFont typeface="+mj-lt"/>
              <a:buAutoNum type="arabicPeriod"/>
            </a:pPr>
            <a:r>
              <a:rPr lang="en-US" sz="1100" b="1" dirty="0"/>
              <a:t>PSI exclusion: </a:t>
            </a:r>
            <a:r>
              <a:rPr lang="en-US" sz="1000" dirty="0"/>
              <a:t>All features are stable!</a:t>
            </a:r>
            <a:endParaRPr lang="en-US" sz="1100" b="1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E4A36C0-28F3-5DAC-F2FA-CDD895C1BE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01719" y="659828"/>
            <a:ext cx="3718387" cy="2976792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42B37656-77FA-4B72-710E-FEB763961C3B}"/>
              </a:ext>
            </a:extLst>
          </p:cNvPr>
          <p:cNvSpPr/>
          <p:nvPr/>
        </p:nvSpPr>
        <p:spPr>
          <a:xfrm>
            <a:off x="472339" y="58549"/>
            <a:ext cx="407676" cy="383512"/>
          </a:xfrm>
          <a:prstGeom prst="ellipse">
            <a:avLst/>
          </a:prstGeom>
          <a:solidFill>
            <a:srgbClr val="AD0505"/>
          </a:solidFill>
          <a:ln>
            <a:solidFill>
              <a:srgbClr val="AD050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Google Shape;70;p7">
            <a:extLst>
              <a:ext uri="{FF2B5EF4-FFF2-40B4-BE49-F238E27FC236}">
                <a16:creationId xmlns:a16="http://schemas.microsoft.com/office/drawing/2014/main" id="{2008926F-D553-5122-4285-43CFAB39BCDE}"/>
              </a:ext>
            </a:extLst>
          </p:cNvPr>
          <p:cNvSpPr txBox="1">
            <a:spLocks/>
          </p:cNvSpPr>
          <p:nvPr/>
        </p:nvSpPr>
        <p:spPr>
          <a:xfrm>
            <a:off x="558092" y="58549"/>
            <a:ext cx="7688700" cy="53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Catamaran"/>
              <a:buNone/>
              <a:defRPr sz="2600" b="1" i="0" u="none" strike="noStrike" cap="none">
                <a:solidFill>
                  <a:schemeClr val="dk2"/>
                </a:solidFill>
                <a:latin typeface="Catamaran"/>
                <a:ea typeface="Catamaran"/>
                <a:cs typeface="Catamaran"/>
                <a:sym typeface="Catamara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r>
              <a:rPr lang="en-US" sz="1600" dirty="0"/>
              <a:t>Credit Risk Data Preparation (Feature Selection)</a:t>
            </a:r>
          </a:p>
        </p:txBody>
      </p:sp>
    </p:spTree>
    <p:extLst>
      <p:ext uri="{BB962C8B-B14F-4D97-AF65-F5344CB8AC3E}">
        <p14:creationId xmlns:p14="http://schemas.microsoft.com/office/powerpoint/2010/main" val="236348496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7"/>
          <p:cNvSpPr txBox="1">
            <a:spLocks noGrp="1"/>
          </p:cNvSpPr>
          <p:nvPr>
            <p:ph type="title"/>
          </p:nvPr>
        </p:nvSpPr>
        <p:spPr>
          <a:xfrm>
            <a:off x="836507" y="2036550"/>
            <a:ext cx="2632407" cy="53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it" dirty="0"/>
              <a:t>Agenda</a:t>
            </a:r>
            <a:endParaRPr dirty="0"/>
          </a:p>
        </p:txBody>
      </p:sp>
      <p:sp>
        <p:nvSpPr>
          <p:cNvPr id="71" name="Google Shape;71;p7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/>
              <a:t>16</a:t>
            </a:fld>
            <a:endParaRPr/>
          </a:p>
        </p:txBody>
      </p:sp>
      <p:sp>
        <p:nvSpPr>
          <p:cNvPr id="72" name="Google Shape;72;p7"/>
          <p:cNvSpPr txBox="1">
            <a:spLocks noGrp="1"/>
          </p:cNvSpPr>
          <p:nvPr>
            <p:ph type="subTitle" idx="2"/>
          </p:nvPr>
        </p:nvSpPr>
        <p:spPr>
          <a:xfrm>
            <a:off x="1414800" y="4805794"/>
            <a:ext cx="7121502" cy="36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it" dirty="0"/>
              <a:t>Statistical Learning - </a:t>
            </a:r>
            <a:r>
              <a:rPr lang="en-US" sz="900" dirty="0"/>
              <a:t>The Importance of Being Calibrated: A Study on Probability Calibration and Interval Estimation for Binary Classification</a:t>
            </a:r>
            <a:endParaRPr sz="900" dirty="0"/>
          </a:p>
        </p:txBody>
      </p:sp>
      <p:pic>
        <p:nvPicPr>
          <p:cNvPr id="3" name="Picture 2" descr="A credit score gauge with a needle and a needle&#10;&#10;Description automatically generated with medium confidence">
            <a:extLst>
              <a:ext uri="{FF2B5EF4-FFF2-40B4-BE49-F238E27FC236}">
                <a16:creationId xmlns:a16="http://schemas.microsoft.com/office/drawing/2014/main" id="{9FCF091F-D737-673B-5DF8-C50E86D44B9B}"/>
              </a:ext>
            </a:extLst>
          </p:cNvPr>
          <p:cNvPicPr>
            <a:picLocks noChangeAspect="1"/>
          </p:cNvPicPr>
          <p:nvPr/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030" y="1838522"/>
            <a:ext cx="3875320" cy="217855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8C92F66-DD98-00C1-7C0B-03704970C3A5}"/>
              </a:ext>
            </a:extLst>
          </p:cNvPr>
          <p:cNvSpPr/>
          <p:nvPr/>
        </p:nvSpPr>
        <p:spPr>
          <a:xfrm>
            <a:off x="4215460" y="508048"/>
            <a:ext cx="4869542" cy="4307386"/>
          </a:xfrm>
          <a:prstGeom prst="rect">
            <a:avLst/>
          </a:prstGeom>
          <a:solidFill>
            <a:schemeClr val="bg2">
              <a:lumMod val="50000"/>
              <a:lumOff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A9F4115F-1744-27F1-D226-BAC0AD24BF02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4528427" y="888657"/>
            <a:ext cx="4383753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Introduction &amp; Motivation: Can We Trust a Model's Confidence?</a:t>
            </a:r>
            <a:endParaRPr lang="en-US" sz="1200" b="1" dirty="0">
              <a:solidFill>
                <a:schemeClr val="tx2"/>
              </a:solidFill>
              <a:latin typeface="Catamaran" panose="020B0604020202020204" charset="0"/>
              <a:cs typeface="Catamaran" panose="020B0604020202020204" charset="0"/>
            </a:endParaRPr>
          </a:p>
        </p:txBody>
      </p:sp>
      <p:sp>
        <p:nvSpPr>
          <p:cNvPr id="9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5F05BD8C-75CB-F6C3-0243-14FC44DD4137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4528427" y="1251873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Accuracy is Not Enough: Discrimination vs. Calibration</a:t>
            </a:r>
          </a:p>
        </p:txBody>
      </p:sp>
      <p:sp>
        <p:nvSpPr>
          <p:cNvPr id="10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123AAC5C-157B-3B55-1942-784B8E41094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4541030" y="1576677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Calibration Methods: Platt, Isotonic, and Venn-</a:t>
            </a:r>
            <a:r>
              <a:rPr lang="en-US" sz="1200" b="1" dirty="0" err="1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Abers</a:t>
            </a:r>
            <a:endParaRPr lang="en-US" sz="1200" b="1" dirty="0">
              <a:solidFill>
                <a:schemeClr val="tx2"/>
              </a:solidFill>
              <a:latin typeface="Catamaran" panose="020B0604020202020204" charset="0"/>
              <a:cs typeface="Catamaran" panose="020B0604020202020204" charset="0"/>
            </a:endParaRPr>
          </a:p>
        </p:txBody>
      </p:sp>
      <p:sp>
        <p:nvSpPr>
          <p:cNvPr id="11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B1D71953-C189-D7AC-2058-78E041D15A4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541030" y="1895304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Our Dataset &amp; Experimental Setup</a:t>
            </a:r>
          </a:p>
        </p:txBody>
      </p:sp>
      <p:sp>
        <p:nvSpPr>
          <p:cNvPr id="2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B9483475-6B13-5D88-E5DA-364A402874D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541030" y="2195584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Credit Risk Data Preparation</a:t>
            </a:r>
          </a:p>
        </p:txBody>
      </p:sp>
      <p:sp>
        <p:nvSpPr>
          <p:cNvPr id="5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4D24E2A4-6D94-D815-011C-BAA1A62F5CE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571999" y="2549209"/>
            <a:ext cx="3771900" cy="342900"/>
          </a:xfrm>
          <a:prstGeom prst="rect">
            <a:avLst/>
          </a:prstGeom>
          <a:solidFill>
            <a:srgbClr val="AD0505"/>
          </a:solidFill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1200" b="1" kern="1200" dirty="0">
                <a:solidFill>
                  <a:schemeClr val="bg1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Results on Credit Risk Data: Accuracy vs. Calibration</a:t>
            </a:r>
          </a:p>
        </p:txBody>
      </p:sp>
      <p:sp>
        <p:nvSpPr>
          <p:cNvPr id="6" name="Text Placeholder 4">
            <a:hlinkClick r:id="rId16" action="ppaction://hlinksldjump"/>
            <a:extLst>
              <a:ext uri="{FF2B5EF4-FFF2-40B4-BE49-F238E27FC236}">
                <a16:creationId xmlns:a16="http://schemas.microsoft.com/office/drawing/2014/main" id="{C2B4952A-8A57-D05F-3B50-2CEFE72A6D9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571999" y="2867988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Simulated Data Generation</a:t>
            </a:r>
          </a:p>
        </p:txBody>
      </p:sp>
      <p:sp>
        <p:nvSpPr>
          <p:cNvPr id="7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EA41B23B-5539-B73B-D142-61DFF193CB5C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571999" y="3203114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Results on Simulated Data</a:t>
            </a:r>
          </a:p>
        </p:txBody>
      </p:sp>
      <p:sp>
        <p:nvSpPr>
          <p:cNvPr id="12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325B2701-BD25-5A24-828A-83B799D3CA3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571999" y="3523363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Probability Intervals</a:t>
            </a:r>
          </a:p>
        </p:txBody>
      </p:sp>
      <p:sp>
        <p:nvSpPr>
          <p:cNvPr id="13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F01DA9CA-794C-F524-1E5D-32A8A79BE53E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571999" y="4111396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References</a:t>
            </a:r>
          </a:p>
        </p:txBody>
      </p:sp>
      <p:sp>
        <p:nvSpPr>
          <p:cNvPr id="14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22F063E4-4560-D8D6-F089-D6DE28E564A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571999" y="3824320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Conclusion &amp; Key Takeaways</a:t>
            </a:r>
          </a:p>
        </p:txBody>
      </p:sp>
    </p:spTree>
    <p:extLst>
      <p:ext uri="{BB962C8B-B14F-4D97-AF65-F5344CB8AC3E}">
        <p14:creationId xmlns:p14="http://schemas.microsoft.com/office/powerpoint/2010/main" val="17439816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9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/>
              <a:t>17</a:t>
            </a:fld>
            <a:endParaRPr/>
          </a:p>
        </p:txBody>
      </p:sp>
      <p:sp>
        <p:nvSpPr>
          <p:cNvPr id="90" name="Google Shape;90;p9"/>
          <p:cNvSpPr txBox="1">
            <a:spLocks noGrp="1"/>
          </p:cNvSpPr>
          <p:nvPr>
            <p:ph type="subTitle" idx="2"/>
          </p:nvPr>
        </p:nvSpPr>
        <p:spPr>
          <a:xfrm>
            <a:off x="1487717" y="4749851"/>
            <a:ext cx="6961085" cy="3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n-US" dirty="0"/>
              <a:t>Statistical Learning - </a:t>
            </a:r>
            <a:r>
              <a:rPr lang="en-US" sz="900" dirty="0"/>
              <a:t>The Importance of Being Calibrated: A Study on Probability Calibration and Interval Estimation for Binary Classification</a:t>
            </a:r>
          </a:p>
          <a:p>
            <a:pPr marL="0" lvl="0" indent="0" algn="l" rtl="0">
              <a:spcBef>
                <a:spcPts val="1600"/>
              </a:spcBef>
              <a:spcAft>
                <a:spcPts val="1600"/>
              </a:spcAft>
              <a:buNone/>
            </a:pPr>
            <a:endParaRPr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69E99013-16C5-9FE4-8C15-B47F3B55D9E3}"/>
              </a:ext>
            </a:extLst>
          </p:cNvPr>
          <p:cNvCxnSpPr>
            <a:cxnSpLocks/>
          </p:cNvCxnSpPr>
          <p:nvPr/>
        </p:nvCxnSpPr>
        <p:spPr>
          <a:xfrm>
            <a:off x="4467280" y="752684"/>
            <a:ext cx="0" cy="3638132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FEDC38E-5805-5E4E-4DAE-34A8D8AFED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79272" y="720431"/>
            <a:ext cx="2835607" cy="335100"/>
          </a:xfrm>
        </p:spPr>
        <p:txBody>
          <a:bodyPr/>
          <a:lstStyle/>
          <a:p>
            <a:pPr marL="146050" indent="0" algn="ctr">
              <a:buNone/>
            </a:pPr>
            <a:r>
              <a:rPr lang="en-US" b="1" dirty="0"/>
              <a:t>Logistic Regression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5063DBA-BA74-2BB6-2410-659F1993647E}"/>
              </a:ext>
            </a:extLst>
          </p:cNvPr>
          <p:cNvSpPr txBox="1">
            <a:spLocks/>
          </p:cNvSpPr>
          <p:nvPr/>
        </p:nvSpPr>
        <p:spPr>
          <a:xfrm>
            <a:off x="4913087" y="723235"/>
            <a:ext cx="2835607" cy="3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Catamaran"/>
              <a:buChar char="●"/>
              <a:defRPr sz="1300" b="0" i="0" u="none" strike="noStrike" cap="none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1pPr>
            <a:lvl2pPr marL="914400" marR="0" lvl="1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Catamaran"/>
              <a:buChar char="○"/>
              <a:defRPr sz="1100" b="0" i="0" u="none" strike="noStrike" cap="none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2pPr>
            <a:lvl3pPr marL="1371600" marR="0" lvl="2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Catamaran"/>
              <a:buChar char="■"/>
              <a:defRPr sz="1100" b="0" i="0" u="none" strike="noStrike" cap="none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3pPr>
            <a:lvl4pPr marL="1828800" marR="0" lvl="3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Catamaran"/>
              <a:buChar char="●"/>
              <a:defRPr sz="1100" b="0" i="0" u="none" strike="noStrike" cap="none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4pPr>
            <a:lvl5pPr marL="2286000" marR="0" lvl="4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Catamaran"/>
              <a:buChar char="○"/>
              <a:defRPr sz="1100" b="0" i="0" u="none" strike="noStrike" cap="none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5pPr>
            <a:lvl6pPr marL="2743200" marR="0" lvl="5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Catamaran"/>
              <a:buChar char="■"/>
              <a:defRPr sz="1100" b="0" i="0" u="none" strike="noStrike" cap="none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6pPr>
            <a:lvl7pPr marL="3200400" marR="0" lvl="6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Catamaran"/>
              <a:buChar char="●"/>
              <a:defRPr sz="1100" b="0" i="0" u="none" strike="noStrike" cap="none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7pPr>
            <a:lvl8pPr marL="3657600" marR="0" lvl="7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Catamaran"/>
              <a:buChar char="○"/>
              <a:defRPr sz="1100" b="0" i="0" u="none" strike="noStrike" cap="none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8pPr>
            <a:lvl9pPr marL="4114800" marR="0" lvl="8" indent="-29845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accent1"/>
              </a:buClr>
              <a:buSzPts val="1100"/>
              <a:buFont typeface="Catamaran"/>
              <a:buChar char="■"/>
              <a:defRPr sz="1100" b="0" i="0" u="none" strike="noStrike" cap="none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9pPr>
          </a:lstStyle>
          <a:p>
            <a:pPr marL="146050" indent="0" algn="ctr">
              <a:buFont typeface="Catamaran"/>
              <a:buNone/>
            </a:pPr>
            <a:r>
              <a:rPr lang="en-US" b="1" dirty="0" err="1"/>
              <a:t>XGBoost</a:t>
            </a:r>
            <a:endParaRPr lang="en-US" b="1" dirty="0"/>
          </a:p>
        </p:txBody>
      </p:sp>
      <p:cxnSp>
        <p:nvCxnSpPr>
          <p:cNvPr id="14" name="LineBasicStrong 15">
            <a:extLst>
              <a:ext uri="{FF2B5EF4-FFF2-40B4-BE49-F238E27FC236}">
                <a16:creationId xmlns:a16="http://schemas.microsoft.com/office/drawing/2014/main" id="{B03D0A58-8C92-A4FA-59AC-223793702115}"/>
              </a:ext>
            </a:extLst>
          </p:cNvPr>
          <p:cNvCxnSpPr>
            <a:cxnSpLocks/>
          </p:cNvCxnSpPr>
          <p:nvPr>
            <p:custDataLst>
              <p:tags r:id="rId1"/>
            </p:custDataLst>
          </p:nvPr>
        </p:nvCxnSpPr>
        <p:spPr>
          <a:xfrm>
            <a:off x="806679" y="1096159"/>
            <a:ext cx="3219179" cy="0"/>
          </a:xfrm>
          <a:prstGeom prst="straightConnector1">
            <a:avLst/>
          </a:prstGeom>
          <a:ln w="1270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LineBasicStrong 15">
            <a:extLst>
              <a:ext uri="{FF2B5EF4-FFF2-40B4-BE49-F238E27FC236}">
                <a16:creationId xmlns:a16="http://schemas.microsoft.com/office/drawing/2014/main" id="{70AFBFA3-BF72-021F-1EAD-8AAD0BE08F58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4784989" y="1060080"/>
            <a:ext cx="3219179" cy="0"/>
          </a:xfrm>
          <a:prstGeom prst="straightConnector1">
            <a:avLst/>
          </a:prstGeom>
          <a:ln w="1270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B008CAFF-C45B-9B9B-DD08-D0E13FE0D8F1}"/>
              </a:ext>
            </a:extLst>
          </p:cNvPr>
          <p:cNvSpPr txBox="1">
            <a:spLocks/>
          </p:cNvSpPr>
          <p:nvPr/>
        </p:nvSpPr>
        <p:spPr>
          <a:xfrm>
            <a:off x="592547" y="1150492"/>
            <a:ext cx="3638368" cy="3169140"/>
          </a:xfrm>
          <a:prstGeom prst="rect">
            <a:avLst/>
          </a:prstGeom>
          <a:noFill/>
          <a:ln>
            <a:solidFill>
              <a:srgbClr val="AD0505"/>
            </a:solidFill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Catamaran"/>
              <a:buChar char="●"/>
              <a:defRPr sz="1300" b="0" i="0" u="none" strike="noStrike" cap="none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1pPr>
            <a:lvl2pPr marL="914400" marR="0" lvl="1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Catamaran"/>
              <a:buChar char="○"/>
              <a:defRPr sz="1100" b="0" i="0" u="none" strike="noStrike" cap="none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2pPr>
            <a:lvl3pPr marL="1371600" marR="0" lvl="2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Catamaran"/>
              <a:buChar char="■"/>
              <a:defRPr sz="1100" b="0" i="0" u="none" strike="noStrike" cap="none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3pPr>
            <a:lvl4pPr marL="1828800" marR="0" lvl="3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Catamaran"/>
              <a:buChar char="●"/>
              <a:defRPr sz="1100" b="0" i="0" u="none" strike="noStrike" cap="none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4pPr>
            <a:lvl5pPr marL="2286000" marR="0" lvl="4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Catamaran"/>
              <a:buChar char="○"/>
              <a:defRPr sz="1100" b="0" i="0" u="none" strike="noStrike" cap="none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5pPr>
            <a:lvl6pPr marL="2743200" marR="0" lvl="5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Catamaran"/>
              <a:buChar char="■"/>
              <a:defRPr sz="1100" b="0" i="0" u="none" strike="noStrike" cap="none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6pPr>
            <a:lvl7pPr marL="3200400" marR="0" lvl="6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Catamaran"/>
              <a:buChar char="●"/>
              <a:defRPr sz="1100" b="0" i="0" u="none" strike="noStrike" cap="none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7pPr>
            <a:lvl8pPr marL="3657600" marR="0" lvl="7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Catamaran"/>
              <a:buChar char="○"/>
              <a:defRPr sz="1100" b="0" i="0" u="none" strike="noStrike" cap="none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8pPr>
            <a:lvl9pPr marL="4114800" marR="0" lvl="8" indent="-29845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accent1"/>
              </a:buClr>
              <a:buSzPts val="1100"/>
              <a:buFont typeface="Catamaran"/>
              <a:buChar char="■"/>
              <a:defRPr sz="1100" b="0" i="0" u="none" strike="noStrike" cap="none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9pPr>
          </a:lstStyle>
          <a:p>
            <a:endParaRPr lang="en-US" sz="1100" b="1" dirty="0"/>
          </a:p>
          <a:p>
            <a:endParaRPr lang="en-US" sz="1100" b="1" dirty="0"/>
          </a:p>
          <a:p>
            <a:endParaRPr lang="en-US" sz="1100" b="1" dirty="0"/>
          </a:p>
          <a:p>
            <a:endParaRPr lang="en-US" sz="1100" b="1" dirty="0"/>
          </a:p>
          <a:p>
            <a:endParaRPr lang="en-US" sz="1100" b="1" dirty="0"/>
          </a:p>
          <a:p>
            <a:endParaRPr lang="en-US" sz="1100" b="1" dirty="0"/>
          </a:p>
          <a:p>
            <a:endParaRPr lang="en-US" sz="1100" b="1" dirty="0"/>
          </a:p>
          <a:p>
            <a:endParaRPr lang="en-US" sz="1100" b="1" dirty="0"/>
          </a:p>
          <a:p>
            <a:endParaRPr lang="en-US" sz="1100" b="1" dirty="0"/>
          </a:p>
          <a:p>
            <a:endParaRPr lang="en-US" sz="1000" b="1" dirty="0"/>
          </a:p>
          <a:p>
            <a:pPr marL="146050" indent="0">
              <a:buNone/>
            </a:pPr>
            <a:r>
              <a:rPr lang="en-US" sz="800" dirty="0"/>
              <a:t>					</a:t>
            </a:r>
          </a:p>
          <a:p>
            <a:pPr marL="146050" indent="0">
              <a:buNone/>
            </a:pPr>
            <a:endParaRPr lang="en-US" b="1"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78536768-57B9-A627-8A70-FC76A9270149}"/>
              </a:ext>
            </a:extLst>
          </p:cNvPr>
          <p:cNvSpPr/>
          <p:nvPr/>
        </p:nvSpPr>
        <p:spPr>
          <a:xfrm>
            <a:off x="472339" y="58549"/>
            <a:ext cx="407676" cy="383512"/>
          </a:xfrm>
          <a:prstGeom prst="ellipse">
            <a:avLst/>
          </a:prstGeom>
          <a:solidFill>
            <a:srgbClr val="AD0505"/>
          </a:solidFill>
          <a:ln>
            <a:solidFill>
              <a:srgbClr val="AD050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Google Shape;70;p7">
            <a:extLst>
              <a:ext uri="{FF2B5EF4-FFF2-40B4-BE49-F238E27FC236}">
                <a16:creationId xmlns:a16="http://schemas.microsoft.com/office/drawing/2014/main" id="{61258824-1C0D-82E6-0AEC-D68848F2C8D9}"/>
              </a:ext>
            </a:extLst>
          </p:cNvPr>
          <p:cNvSpPr txBox="1">
            <a:spLocks/>
          </p:cNvSpPr>
          <p:nvPr/>
        </p:nvSpPr>
        <p:spPr>
          <a:xfrm>
            <a:off x="558092" y="58549"/>
            <a:ext cx="7688700" cy="53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Catamaran"/>
              <a:buNone/>
              <a:defRPr sz="2600" b="1" i="0" u="none" strike="noStrike" cap="none">
                <a:solidFill>
                  <a:schemeClr val="dk2"/>
                </a:solidFill>
                <a:latin typeface="Catamaran"/>
                <a:ea typeface="Catamaran"/>
                <a:cs typeface="Catamaran"/>
                <a:sym typeface="Catamara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r>
              <a:rPr lang="en-US" sz="1600" dirty="0"/>
              <a:t>Results on Credit Risk Data: Accuracy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FAF3E81-B21E-F379-955C-374EAC157576}"/>
              </a:ext>
            </a:extLst>
          </p:cNvPr>
          <p:cNvSpPr txBox="1">
            <a:spLocks/>
          </p:cNvSpPr>
          <p:nvPr/>
        </p:nvSpPr>
        <p:spPr>
          <a:xfrm>
            <a:off x="4672219" y="1139418"/>
            <a:ext cx="3638368" cy="3169140"/>
          </a:xfrm>
          <a:prstGeom prst="rect">
            <a:avLst/>
          </a:prstGeom>
          <a:noFill/>
          <a:ln>
            <a:solidFill>
              <a:srgbClr val="AD0505"/>
            </a:solidFill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11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Catamaran"/>
              <a:buChar char="●"/>
              <a:defRPr sz="1300" b="0" i="0" u="none" strike="noStrike" cap="none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1pPr>
            <a:lvl2pPr marL="914400" marR="0" lvl="1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Catamaran"/>
              <a:buChar char="○"/>
              <a:defRPr sz="1100" b="0" i="0" u="none" strike="noStrike" cap="none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2pPr>
            <a:lvl3pPr marL="1371600" marR="0" lvl="2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Catamaran"/>
              <a:buChar char="■"/>
              <a:defRPr sz="1100" b="0" i="0" u="none" strike="noStrike" cap="none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3pPr>
            <a:lvl4pPr marL="1828800" marR="0" lvl="3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Catamaran"/>
              <a:buChar char="●"/>
              <a:defRPr sz="1100" b="0" i="0" u="none" strike="noStrike" cap="none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4pPr>
            <a:lvl5pPr marL="2286000" marR="0" lvl="4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Catamaran"/>
              <a:buChar char="○"/>
              <a:defRPr sz="1100" b="0" i="0" u="none" strike="noStrike" cap="none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5pPr>
            <a:lvl6pPr marL="2743200" marR="0" lvl="5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Catamaran"/>
              <a:buChar char="■"/>
              <a:defRPr sz="1100" b="0" i="0" u="none" strike="noStrike" cap="none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6pPr>
            <a:lvl7pPr marL="3200400" marR="0" lvl="6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Catamaran"/>
              <a:buChar char="●"/>
              <a:defRPr sz="1100" b="0" i="0" u="none" strike="noStrike" cap="none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7pPr>
            <a:lvl8pPr marL="3657600" marR="0" lvl="7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Catamaran"/>
              <a:buChar char="○"/>
              <a:defRPr sz="1100" b="0" i="0" u="none" strike="noStrike" cap="none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8pPr>
            <a:lvl9pPr marL="4114800" marR="0" lvl="8" indent="-29845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accent1"/>
              </a:buClr>
              <a:buSzPts val="1100"/>
              <a:buFont typeface="Catamaran"/>
              <a:buChar char="■"/>
              <a:defRPr sz="1100" b="0" i="0" u="none" strike="noStrike" cap="none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defRPr>
            </a:lvl9pPr>
          </a:lstStyle>
          <a:p>
            <a:endParaRPr lang="en-US" sz="1100" b="1" dirty="0"/>
          </a:p>
          <a:p>
            <a:endParaRPr lang="en-US" sz="1100" b="1" dirty="0"/>
          </a:p>
          <a:p>
            <a:endParaRPr lang="en-US" sz="1100" b="1" dirty="0"/>
          </a:p>
          <a:p>
            <a:endParaRPr lang="en-US" sz="1100" b="1" dirty="0"/>
          </a:p>
          <a:p>
            <a:endParaRPr lang="en-US" sz="1100" b="1" dirty="0"/>
          </a:p>
          <a:p>
            <a:endParaRPr lang="en-US" sz="1100" b="1" dirty="0"/>
          </a:p>
          <a:p>
            <a:endParaRPr lang="en-US" sz="1100" b="1" dirty="0"/>
          </a:p>
          <a:p>
            <a:endParaRPr lang="en-US" sz="1100" b="1" dirty="0"/>
          </a:p>
          <a:p>
            <a:endParaRPr lang="en-US" sz="1100" b="1" dirty="0"/>
          </a:p>
          <a:p>
            <a:endParaRPr lang="en-US" sz="1000" b="1" dirty="0"/>
          </a:p>
          <a:p>
            <a:pPr marL="146050" indent="0">
              <a:buNone/>
            </a:pPr>
            <a:r>
              <a:rPr lang="en-US" sz="800" dirty="0"/>
              <a:t>					</a:t>
            </a:r>
          </a:p>
          <a:p>
            <a:pPr marL="146050" indent="0">
              <a:buNone/>
            </a:pPr>
            <a:endParaRPr lang="en-US" b="1" dirty="0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22E7D7D6-675A-A055-04E0-67DBC3CF4AB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46176" y="2209026"/>
            <a:ext cx="3500616" cy="2074288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3346BC00-0AAD-4804-5342-E36F71EAADD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3435" y="2245105"/>
            <a:ext cx="3416591" cy="2038209"/>
          </a:xfrm>
          <a:prstGeom prst="rect">
            <a:avLst/>
          </a:prstGeom>
        </p:spPr>
      </p:pic>
      <p:graphicFrame>
        <p:nvGraphicFramePr>
          <p:cNvPr id="31" name="Table 30">
            <a:extLst>
              <a:ext uri="{FF2B5EF4-FFF2-40B4-BE49-F238E27FC236}">
                <a16:creationId xmlns:a16="http://schemas.microsoft.com/office/drawing/2014/main" id="{C56AFA6E-5163-4BF3-C05F-A87C8B63A9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3682455"/>
              </p:ext>
            </p:extLst>
          </p:nvPr>
        </p:nvGraphicFramePr>
        <p:xfrm>
          <a:off x="5467624" y="1214136"/>
          <a:ext cx="2047557" cy="895795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728980">
                  <a:extLst>
                    <a:ext uri="{9D8B030D-6E8A-4147-A177-3AD203B41FA5}">
                      <a16:colId xmlns:a16="http://schemas.microsoft.com/office/drawing/2014/main" val="2413286585"/>
                    </a:ext>
                  </a:extLst>
                </a:gridCol>
                <a:gridCol w="433705">
                  <a:extLst>
                    <a:ext uri="{9D8B030D-6E8A-4147-A177-3AD203B41FA5}">
                      <a16:colId xmlns:a16="http://schemas.microsoft.com/office/drawing/2014/main" val="705427897"/>
                    </a:ext>
                  </a:extLst>
                </a:gridCol>
                <a:gridCol w="436880">
                  <a:extLst>
                    <a:ext uri="{9D8B030D-6E8A-4147-A177-3AD203B41FA5}">
                      <a16:colId xmlns:a16="http://schemas.microsoft.com/office/drawing/2014/main" val="136782701"/>
                    </a:ext>
                  </a:extLst>
                </a:gridCol>
                <a:gridCol w="447992">
                  <a:extLst>
                    <a:ext uri="{9D8B030D-6E8A-4147-A177-3AD203B41FA5}">
                      <a16:colId xmlns:a16="http://schemas.microsoft.com/office/drawing/2014/main" val="3702242858"/>
                    </a:ext>
                  </a:extLst>
                </a:gridCol>
              </a:tblGrid>
              <a:tr h="239082"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Trai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Vali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Te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7668371"/>
                  </a:ext>
                </a:extLst>
              </a:tr>
              <a:tr h="201127"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ROC AU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9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9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9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1920635"/>
                  </a:ext>
                </a:extLst>
              </a:tr>
              <a:tr h="229993"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KS statistics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7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7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7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214426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Log Lo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8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9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20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9168083"/>
                  </a:ext>
                </a:extLst>
              </a:tr>
            </a:tbl>
          </a:graphicData>
        </a:graphic>
      </p:graphicFrame>
      <p:graphicFrame>
        <p:nvGraphicFramePr>
          <p:cNvPr id="32" name="Table 31">
            <a:extLst>
              <a:ext uri="{FF2B5EF4-FFF2-40B4-BE49-F238E27FC236}">
                <a16:creationId xmlns:a16="http://schemas.microsoft.com/office/drawing/2014/main" id="{BEE68332-73B2-AE49-A6E0-860155CFF6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926528"/>
              </p:ext>
            </p:extLst>
          </p:nvPr>
        </p:nvGraphicFramePr>
        <p:xfrm>
          <a:off x="1387951" y="1242160"/>
          <a:ext cx="2047557" cy="895795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728980">
                  <a:extLst>
                    <a:ext uri="{9D8B030D-6E8A-4147-A177-3AD203B41FA5}">
                      <a16:colId xmlns:a16="http://schemas.microsoft.com/office/drawing/2014/main" val="2413286585"/>
                    </a:ext>
                  </a:extLst>
                </a:gridCol>
                <a:gridCol w="433705">
                  <a:extLst>
                    <a:ext uri="{9D8B030D-6E8A-4147-A177-3AD203B41FA5}">
                      <a16:colId xmlns:a16="http://schemas.microsoft.com/office/drawing/2014/main" val="705427897"/>
                    </a:ext>
                  </a:extLst>
                </a:gridCol>
                <a:gridCol w="436880">
                  <a:extLst>
                    <a:ext uri="{9D8B030D-6E8A-4147-A177-3AD203B41FA5}">
                      <a16:colId xmlns:a16="http://schemas.microsoft.com/office/drawing/2014/main" val="136782701"/>
                    </a:ext>
                  </a:extLst>
                </a:gridCol>
                <a:gridCol w="447992">
                  <a:extLst>
                    <a:ext uri="{9D8B030D-6E8A-4147-A177-3AD203B41FA5}">
                      <a16:colId xmlns:a16="http://schemas.microsoft.com/office/drawing/2014/main" val="3702242858"/>
                    </a:ext>
                  </a:extLst>
                </a:gridCol>
              </a:tblGrid>
              <a:tr h="239082"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Trai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Vali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Te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7668371"/>
                  </a:ext>
                </a:extLst>
              </a:tr>
              <a:tr h="201127"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ROC AU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8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8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8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1920635"/>
                  </a:ext>
                </a:extLst>
              </a:tr>
              <a:tr h="229993"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KS statistics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5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5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5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214426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Log Lo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35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34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35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91680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0897107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9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/>
              <a:t>18</a:t>
            </a:fld>
            <a:endParaRPr/>
          </a:p>
        </p:txBody>
      </p:sp>
      <p:sp>
        <p:nvSpPr>
          <p:cNvPr id="90" name="Google Shape;90;p9"/>
          <p:cNvSpPr txBox="1">
            <a:spLocks noGrp="1"/>
          </p:cNvSpPr>
          <p:nvPr>
            <p:ph type="subTitle" idx="2"/>
          </p:nvPr>
        </p:nvSpPr>
        <p:spPr>
          <a:xfrm>
            <a:off x="1475192" y="4749851"/>
            <a:ext cx="6954824" cy="3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n-US" dirty="0"/>
              <a:t>Statistical Learning - </a:t>
            </a:r>
            <a:r>
              <a:rPr lang="en-US" sz="900" dirty="0"/>
              <a:t>The Importance of Being Calibrated: A Study on Probability Calibration and Interval Estimation for Binary Classification</a:t>
            </a:r>
          </a:p>
          <a:p>
            <a:pPr marL="0" lvl="0" indent="0" algn="l" rtl="0">
              <a:spcBef>
                <a:spcPts val="1600"/>
              </a:spcBef>
              <a:spcAft>
                <a:spcPts val="1600"/>
              </a:spcAft>
              <a:buNone/>
            </a:pPr>
            <a:endParaRPr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78536768-57B9-A627-8A70-FC76A9270149}"/>
              </a:ext>
            </a:extLst>
          </p:cNvPr>
          <p:cNvSpPr/>
          <p:nvPr/>
        </p:nvSpPr>
        <p:spPr>
          <a:xfrm>
            <a:off x="472339" y="58549"/>
            <a:ext cx="407676" cy="383512"/>
          </a:xfrm>
          <a:prstGeom prst="ellipse">
            <a:avLst/>
          </a:prstGeom>
          <a:solidFill>
            <a:srgbClr val="AD0505"/>
          </a:solidFill>
          <a:ln>
            <a:solidFill>
              <a:srgbClr val="AD050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Google Shape;70;p7">
            <a:extLst>
              <a:ext uri="{FF2B5EF4-FFF2-40B4-BE49-F238E27FC236}">
                <a16:creationId xmlns:a16="http://schemas.microsoft.com/office/drawing/2014/main" id="{61258824-1C0D-82E6-0AEC-D68848F2C8D9}"/>
              </a:ext>
            </a:extLst>
          </p:cNvPr>
          <p:cNvSpPr txBox="1">
            <a:spLocks/>
          </p:cNvSpPr>
          <p:nvPr/>
        </p:nvSpPr>
        <p:spPr>
          <a:xfrm>
            <a:off x="558092" y="58549"/>
            <a:ext cx="7688700" cy="53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Catamaran"/>
              <a:buNone/>
              <a:defRPr sz="2600" b="1" i="0" u="none" strike="noStrike" cap="none">
                <a:solidFill>
                  <a:schemeClr val="dk2"/>
                </a:solidFill>
                <a:latin typeface="Catamaran"/>
                <a:ea typeface="Catamaran"/>
                <a:cs typeface="Catamaran"/>
                <a:sym typeface="Catamara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r>
              <a:rPr lang="en-US" sz="1600" dirty="0"/>
              <a:t>Results on Credit Risk Data: Calibration (Logistic Regression)</a:t>
            </a:r>
          </a:p>
        </p:txBody>
      </p: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A1BE33D6-89B4-F739-AB46-8B04F28534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0551887"/>
              </p:ext>
            </p:extLst>
          </p:nvPr>
        </p:nvGraphicFramePr>
        <p:xfrm>
          <a:off x="6257335" y="593749"/>
          <a:ext cx="2461851" cy="1692780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617855">
                  <a:extLst>
                    <a:ext uri="{9D8B030D-6E8A-4147-A177-3AD203B41FA5}">
                      <a16:colId xmlns:a16="http://schemas.microsoft.com/office/drawing/2014/main" val="2413286585"/>
                    </a:ext>
                  </a:extLst>
                </a:gridCol>
                <a:gridCol w="560661">
                  <a:extLst>
                    <a:ext uri="{9D8B030D-6E8A-4147-A177-3AD203B41FA5}">
                      <a16:colId xmlns:a16="http://schemas.microsoft.com/office/drawing/2014/main" val="705427897"/>
                    </a:ext>
                  </a:extLst>
                </a:gridCol>
                <a:gridCol w="595630">
                  <a:extLst>
                    <a:ext uri="{9D8B030D-6E8A-4147-A177-3AD203B41FA5}">
                      <a16:colId xmlns:a16="http://schemas.microsoft.com/office/drawing/2014/main" val="136782701"/>
                    </a:ext>
                  </a:extLst>
                </a:gridCol>
                <a:gridCol w="687705">
                  <a:extLst>
                    <a:ext uri="{9D8B030D-6E8A-4147-A177-3AD203B41FA5}">
                      <a16:colId xmlns:a16="http://schemas.microsoft.com/office/drawing/2014/main" val="1331918043"/>
                    </a:ext>
                  </a:extLst>
                </a:gridCol>
              </a:tblGrid>
              <a:tr h="239082">
                <a:tc gridSpan="4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Valid/</a:t>
                      </a:r>
                      <a:r>
                        <a:rPr lang="en-US" sz="800" b="1" i="0" u="none" strike="noStrike" cap="none" dirty="0" err="1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Calib</a:t>
                      </a:r>
                      <a:r>
                        <a:rPr lang="en-US" sz="8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 Se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9170793"/>
                  </a:ext>
                </a:extLst>
              </a:tr>
              <a:tr h="239082"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6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E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Log Lo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Brier Sco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7668371"/>
                  </a:ext>
                </a:extLst>
              </a:tr>
              <a:tr h="201127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Ra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1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34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0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1920635"/>
                  </a:ext>
                </a:extLst>
              </a:tr>
              <a:tr h="229993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Plat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1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34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0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214426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Isotoni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33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0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9168083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IVA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0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33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0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5722193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CVA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1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34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0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139218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Bootstra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0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34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0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17728190"/>
                  </a:ext>
                </a:extLst>
              </a:tr>
            </a:tbl>
          </a:graphicData>
        </a:graphic>
      </p:graphicFrame>
      <p:pic>
        <p:nvPicPr>
          <p:cNvPr id="35" name="Picture 34">
            <a:extLst>
              <a:ext uri="{FF2B5EF4-FFF2-40B4-BE49-F238E27FC236}">
                <a16:creationId xmlns:a16="http://schemas.microsoft.com/office/drawing/2014/main" id="{558CF96D-1F4F-AB68-5833-34E17A3ABC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698" y="540156"/>
            <a:ext cx="5834177" cy="3644494"/>
          </a:xfrm>
          <a:prstGeom prst="rect">
            <a:avLst/>
          </a:prstGeom>
        </p:spPr>
      </p:pic>
      <p:graphicFrame>
        <p:nvGraphicFramePr>
          <p:cNvPr id="36" name="Table 35">
            <a:extLst>
              <a:ext uri="{FF2B5EF4-FFF2-40B4-BE49-F238E27FC236}">
                <a16:creationId xmlns:a16="http://schemas.microsoft.com/office/drawing/2014/main" id="{C50095AE-2A75-0D18-D107-07116F2749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4092451"/>
              </p:ext>
            </p:extLst>
          </p:nvPr>
        </p:nvGraphicFramePr>
        <p:xfrm>
          <a:off x="6257335" y="2608626"/>
          <a:ext cx="2461851" cy="1692780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617855">
                  <a:extLst>
                    <a:ext uri="{9D8B030D-6E8A-4147-A177-3AD203B41FA5}">
                      <a16:colId xmlns:a16="http://schemas.microsoft.com/office/drawing/2014/main" val="2413286585"/>
                    </a:ext>
                  </a:extLst>
                </a:gridCol>
                <a:gridCol w="560661">
                  <a:extLst>
                    <a:ext uri="{9D8B030D-6E8A-4147-A177-3AD203B41FA5}">
                      <a16:colId xmlns:a16="http://schemas.microsoft.com/office/drawing/2014/main" val="705427897"/>
                    </a:ext>
                  </a:extLst>
                </a:gridCol>
                <a:gridCol w="595630">
                  <a:extLst>
                    <a:ext uri="{9D8B030D-6E8A-4147-A177-3AD203B41FA5}">
                      <a16:colId xmlns:a16="http://schemas.microsoft.com/office/drawing/2014/main" val="136782701"/>
                    </a:ext>
                  </a:extLst>
                </a:gridCol>
                <a:gridCol w="687705">
                  <a:extLst>
                    <a:ext uri="{9D8B030D-6E8A-4147-A177-3AD203B41FA5}">
                      <a16:colId xmlns:a16="http://schemas.microsoft.com/office/drawing/2014/main" val="1331918043"/>
                    </a:ext>
                  </a:extLst>
                </a:gridCol>
              </a:tblGrid>
              <a:tr h="239082">
                <a:tc gridSpan="4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Test Se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9170793"/>
                  </a:ext>
                </a:extLst>
              </a:tr>
              <a:tr h="239082"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6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E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Log Lo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Brier Sco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7668371"/>
                  </a:ext>
                </a:extLst>
              </a:tr>
              <a:tr h="201127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Ra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2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35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0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1920635"/>
                  </a:ext>
                </a:extLst>
              </a:tr>
              <a:tr h="229993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Plat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35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0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214426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Isotoni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01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38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10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9168083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IVA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01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35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10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5722193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CVA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1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35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0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139218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Bootstra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1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35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0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1772819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060559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9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/>
              <a:t>19</a:t>
            </a:fld>
            <a:endParaRPr/>
          </a:p>
        </p:txBody>
      </p:sp>
      <p:sp>
        <p:nvSpPr>
          <p:cNvPr id="90" name="Google Shape;90;p9"/>
          <p:cNvSpPr txBox="1">
            <a:spLocks noGrp="1"/>
          </p:cNvSpPr>
          <p:nvPr>
            <p:ph type="subTitle" idx="2"/>
          </p:nvPr>
        </p:nvSpPr>
        <p:spPr>
          <a:xfrm>
            <a:off x="1550349" y="4758601"/>
            <a:ext cx="6985953" cy="3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n-US" dirty="0"/>
              <a:t>Statistical Learning - </a:t>
            </a:r>
            <a:r>
              <a:rPr lang="en-US" sz="900" dirty="0"/>
              <a:t>The Importance of Being Calibrated: A Study on Probability Calibration and Interval Estimation for Binary Classification</a:t>
            </a:r>
          </a:p>
          <a:p>
            <a:pPr marL="0" lvl="0" indent="0" algn="l" rtl="0">
              <a:spcBef>
                <a:spcPts val="1600"/>
              </a:spcBef>
              <a:spcAft>
                <a:spcPts val="1600"/>
              </a:spcAft>
              <a:buNone/>
            </a:pPr>
            <a:endParaRPr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78536768-57B9-A627-8A70-FC76A9270149}"/>
              </a:ext>
            </a:extLst>
          </p:cNvPr>
          <p:cNvSpPr/>
          <p:nvPr/>
        </p:nvSpPr>
        <p:spPr>
          <a:xfrm>
            <a:off x="472339" y="58549"/>
            <a:ext cx="407676" cy="383512"/>
          </a:xfrm>
          <a:prstGeom prst="ellipse">
            <a:avLst/>
          </a:prstGeom>
          <a:solidFill>
            <a:srgbClr val="AD0505"/>
          </a:solidFill>
          <a:ln>
            <a:solidFill>
              <a:srgbClr val="AD050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Google Shape;70;p7">
            <a:extLst>
              <a:ext uri="{FF2B5EF4-FFF2-40B4-BE49-F238E27FC236}">
                <a16:creationId xmlns:a16="http://schemas.microsoft.com/office/drawing/2014/main" id="{61258824-1C0D-82E6-0AEC-D68848F2C8D9}"/>
              </a:ext>
            </a:extLst>
          </p:cNvPr>
          <p:cNvSpPr txBox="1">
            <a:spLocks/>
          </p:cNvSpPr>
          <p:nvPr/>
        </p:nvSpPr>
        <p:spPr>
          <a:xfrm>
            <a:off x="558092" y="58549"/>
            <a:ext cx="7688700" cy="53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Catamaran"/>
              <a:buNone/>
              <a:defRPr sz="2600" b="1" i="0" u="none" strike="noStrike" cap="none">
                <a:solidFill>
                  <a:schemeClr val="dk2"/>
                </a:solidFill>
                <a:latin typeface="Catamaran"/>
                <a:ea typeface="Catamaran"/>
                <a:cs typeface="Catamaran"/>
                <a:sym typeface="Catamara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r>
              <a:rPr lang="en-US" sz="1600" dirty="0"/>
              <a:t>Results on Credit Risk Data: Calibration (</a:t>
            </a:r>
            <a:r>
              <a:rPr lang="en-US" sz="1600" dirty="0" err="1"/>
              <a:t>XGBoost</a:t>
            </a:r>
            <a:r>
              <a:rPr lang="en-US" sz="1600" dirty="0"/>
              <a:t>)</a:t>
            </a:r>
          </a:p>
        </p:txBody>
      </p: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A1BE33D6-89B4-F739-AB46-8B04F28534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7101977"/>
              </p:ext>
            </p:extLst>
          </p:nvPr>
        </p:nvGraphicFramePr>
        <p:xfrm>
          <a:off x="6257335" y="593749"/>
          <a:ext cx="2461851" cy="1496906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617855">
                  <a:extLst>
                    <a:ext uri="{9D8B030D-6E8A-4147-A177-3AD203B41FA5}">
                      <a16:colId xmlns:a16="http://schemas.microsoft.com/office/drawing/2014/main" val="2413286585"/>
                    </a:ext>
                  </a:extLst>
                </a:gridCol>
                <a:gridCol w="560661">
                  <a:extLst>
                    <a:ext uri="{9D8B030D-6E8A-4147-A177-3AD203B41FA5}">
                      <a16:colId xmlns:a16="http://schemas.microsoft.com/office/drawing/2014/main" val="705427897"/>
                    </a:ext>
                  </a:extLst>
                </a:gridCol>
                <a:gridCol w="595630">
                  <a:extLst>
                    <a:ext uri="{9D8B030D-6E8A-4147-A177-3AD203B41FA5}">
                      <a16:colId xmlns:a16="http://schemas.microsoft.com/office/drawing/2014/main" val="136782701"/>
                    </a:ext>
                  </a:extLst>
                </a:gridCol>
                <a:gridCol w="687705">
                  <a:extLst>
                    <a:ext uri="{9D8B030D-6E8A-4147-A177-3AD203B41FA5}">
                      <a16:colId xmlns:a16="http://schemas.microsoft.com/office/drawing/2014/main" val="1331918043"/>
                    </a:ext>
                  </a:extLst>
                </a:gridCol>
              </a:tblGrid>
              <a:tr h="239082">
                <a:tc gridSpan="4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Valid/</a:t>
                      </a:r>
                      <a:r>
                        <a:rPr lang="en-US" sz="800" b="1" i="0" u="none" strike="noStrike" cap="none" dirty="0" err="1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Calib</a:t>
                      </a:r>
                      <a:r>
                        <a:rPr lang="en-US" sz="8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 Se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9170793"/>
                  </a:ext>
                </a:extLst>
              </a:tr>
              <a:tr h="239082"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6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E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Log Lo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Brier Sco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7668371"/>
                  </a:ext>
                </a:extLst>
              </a:tr>
              <a:tr h="201127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Ra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1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9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5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1920635"/>
                  </a:ext>
                </a:extLst>
              </a:tr>
              <a:tr h="229993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Plat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2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9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5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214426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Isotoni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18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05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9168083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IVA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0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8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05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5722193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CVA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1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7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4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139218"/>
                  </a:ext>
                </a:extLst>
              </a:tr>
            </a:tbl>
          </a:graphicData>
        </a:graphic>
      </p:graphicFrame>
      <p:graphicFrame>
        <p:nvGraphicFramePr>
          <p:cNvPr id="36" name="Table 35">
            <a:extLst>
              <a:ext uri="{FF2B5EF4-FFF2-40B4-BE49-F238E27FC236}">
                <a16:creationId xmlns:a16="http://schemas.microsoft.com/office/drawing/2014/main" id="{C50095AE-2A75-0D18-D107-07116F2749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3514927"/>
              </p:ext>
            </p:extLst>
          </p:nvPr>
        </p:nvGraphicFramePr>
        <p:xfrm>
          <a:off x="6257335" y="2608626"/>
          <a:ext cx="2461851" cy="1496906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617855">
                  <a:extLst>
                    <a:ext uri="{9D8B030D-6E8A-4147-A177-3AD203B41FA5}">
                      <a16:colId xmlns:a16="http://schemas.microsoft.com/office/drawing/2014/main" val="2413286585"/>
                    </a:ext>
                  </a:extLst>
                </a:gridCol>
                <a:gridCol w="560661">
                  <a:extLst>
                    <a:ext uri="{9D8B030D-6E8A-4147-A177-3AD203B41FA5}">
                      <a16:colId xmlns:a16="http://schemas.microsoft.com/office/drawing/2014/main" val="705427897"/>
                    </a:ext>
                  </a:extLst>
                </a:gridCol>
                <a:gridCol w="595630">
                  <a:extLst>
                    <a:ext uri="{9D8B030D-6E8A-4147-A177-3AD203B41FA5}">
                      <a16:colId xmlns:a16="http://schemas.microsoft.com/office/drawing/2014/main" val="136782701"/>
                    </a:ext>
                  </a:extLst>
                </a:gridCol>
                <a:gridCol w="687705">
                  <a:extLst>
                    <a:ext uri="{9D8B030D-6E8A-4147-A177-3AD203B41FA5}">
                      <a16:colId xmlns:a16="http://schemas.microsoft.com/office/drawing/2014/main" val="1331918043"/>
                    </a:ext>
                  </a:extLst>
                </a:gridCol>
              </a:tblGrid>
              <a:tr h="239082">
                <a:tc gridSpan="4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Test Se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9170793"/>
                  </a:ext>
                </a:extLst>
              </a:tr>
              <a:tr h="239082"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6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E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Log Lo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Brier Sco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7668371"/>
                  </a:ext>
                </a:extLst>
              </a:tr>
              <a:tr h="201127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Ra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1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20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5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1920635"/>
                  </a:ext>
                </a:extLst>
              </a:tr>
              <a:tr h="229993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Plat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1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20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5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214426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Isotoni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01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26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600" b="1" i="0" u="none" strike="noStrike" cap="none" dirty="0">
                          <a:solidFill>
                            <a:srgbClr val="92D050"/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05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9168083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IVA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01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20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600" b="1" i="0" u="none" strike="noStrike" cap="none" dirty="0">
                          <a:solidFill>
                            <a:srgbClr val="92D050"/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05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5722193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CVA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0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99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5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139218"/>
                  </a:ext>
                </a:extLst>
              </a:tr>
            </a:tbl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C54B13AD-775F-91C6-5925-BDE4B8AAEB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633" y="593749"/>
            <a:ext cx="5854500" cy="3624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8223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smGrid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7"/>
          <p:cNvSpPr txBox="1">
            <a:spLocks noGrp="1"/>
          </p:cNvSpPr>
          <p:nvPr>
            <p:ph type="title"/>
          </p:nvPr>
        </p:nvSpPr>
        <p:spPr>
          <a:xfrm>
            <a:off x="836507" y="2036550"/>
            <a:ext cx="2632407" cy="53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it" dirty="0"/>
              <a:t>Agenda</a:t>
            </a:r>
            <a:endParaRPr dirty="0"/>
          </a:p>
        </p:txBody>
      </p:sp>
      <p:sp>
        <p:nvSpPr>
          <p:cNvPr id="71" name="Google Shape;71;p7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/>
              <a:t>2</a:t>
            </a:fld>
            <a:endParaRPr/>
          </a:p>
        </p:txBody>
      </p:sp>
      <p:sp>
        <p:nvSpPr>
          <p:cNvPr id="72" name="Google Shape;72;p7"/>
          <p:cNvSpPr txBox="1">
            <a:spLocks noGrp="1"/>
          </p:cNvSpPr>
          <p:nvPr>
            <p:ph type="subTitle" idx="2"/>
          </p:nvPr>
        </p:nvSpPr>
        <p:spPr>
          <a:xfrm>
            <a:off x="1414800" y="4771263"/>
            <a:ext cx="7121502" cy="36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it" dirty="0"/>
              <a:t>Statistical Learning - </a:t>
            </a:r>
            <a:r>
              <a:rPr lang="en-US" sz="900" dirty="0"/>
              <a:t>The Importance of Being Calibrated: A Study on Probability Calibration and Interval Estimation for Binary Classification</a:t>
            </a:r>
            <a:endParaRPr sz="900" dirty="0"/>
          </a:p>
        </p:txBody>
      </p:sp>
      <p:pic>
        <p:nvPicPr>
          <p:cNvPr id="3" name="Picture 2" descr="A credit score gauge with a needle and a needle&#10;&#10;Description automatically generated with medium confidence">
            <a:extLst>
              <a:ext uri="{FF2B5EF4-FFF2-40B4-BE49-F238E27FC236}">
                <a16:creationId xmlns:a16="http://schemas.microsoft.com/office/drawing/2014/main" id="{9FCF091F-D737-673B-5DF8-C50E86D44B9B}"/>
              </a:ext>
            </a:extLst>
          </p:cNvPr>
          <p:cNvPicPr>
            <a:picLocks noChangeAspect="1"/>
          </p:cNvPicPr>
          <p:nvPr/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030" y="1838522"/>
            <a:ext cx="3875320" cy="217855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8C92F66-DD98-00C1-7C0B-03704970C3A5}"/>
              </a:ext>
            </a:extLst>
          </p:cNvPr>
          <p:cNvSpPr/>
          <p:nvPr/>
        </p:nvSpPr>
        <p:spPr>
          <a:xfrm>
            <a:off x="4215460" y="495937"/>
            <a:ext cx="4869542" cy="4307386"/>
          </a:xfrm>
          <a:prstGeom prst="rect">
            <a:avLst/>
          </a:prstGeom>
          <a:solidFill>
            <a:schemeClr val="bg2">
              <a:lumMod val="50000"/>
              <a:lumOff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A9F4115F-1744-27F1-D226-BAC0AD24BF02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4528427" y="812218"/>
            <a:ext cx="4383753" cy="342900"/>
          </a:xfrm>
          <a:prstGeom prst="rect">
            <a:avLst/>
          </a:prstGeom>
          <a:solidFill>
            <a:srgbClr val="AD0505"/>
          </a:solidFill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b="1" dirty="0">
                <a:solidFill>
                  <a:schemeClr val="bg1"/>
                </a:solidFill>
                <a:latin typeface="Catamaran" panose="020B0604020202020204" charset="0"/>
                <a:cs typeface="Catamaran" panose="020B0604020202020204" charset="0"/>
              </a:rPr>
              <a:t>Introduction &amp; Motivation: Can We Trust a Model's Confidence?</a:t>
            </a:r>
            <a:endParaRPr lang="en-US" sz="1200" b="1" dirty="0">
              <a:solidFill>
                <a:schemeClr val="bg1"/>
              </a:solidFill>
              <a:latin typeface="Catamaran" panose="020B0604020202020204" charset="0"/>
              <a:cs typeface="Catamaran" panose="020B0604020202020204" charset="0"/>
            </a:endParaRPr>
          </a:p>
        </p:txBody>
      </p:sp>
      <p:sp>
        <p:nvSpPr>
          <p:cNvPr id="9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5F05BD8C-75CB-F6C3-0243-14FC44DD4137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4528427" y="1251873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Accuracy is Not Enough: Discrimination vs. Calibration</a:t>
            </a:r>
          </a:p>
        </p:txBody>
      </p:sp>
      <p:sp>
        <p:nvSpPr>
          <p:cNvPr id="10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123AAC5C-157B-3B55-1942-784B8E41094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4541030" y="1576677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Calibration Methods: Platt, Isotonic, and Venn-</a:t>
            </a:r>
            <a:r>
              <a:rPr lang="en-US" sz="1200" b="1" dirty="0" err="1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Abers</a:t>
            </a:r>
            <a:endParaRPr lang="en-US" sz="1200" b="1" dirty="0">
              <a:solidFill>
                <a:schemeClr val="tx2"/>
              </a:solidFill>
              <a:latin typeface="Catamaran" panose="020B0604020202020204" charset="0"/>
              <a:cs typeface="Catamaran" panose="020B0604020202020204" charset="0"/>
            </a:endParaRPr>
          </a:p>
        </p:txBody>
      </p:sp>
      <p:sp>
        <p:nvSpPr>
          <p:cNvPr id="11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B1D71953-C189-D7AC-2058-78E041D15A4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541030" y="1895304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Our Dataset &amp; Experimental Setup</a:t>
            </a:r>
          </a:p>
        </p:txBody>
      </p:sp>
      <p:sp>
        <p:nvSpPr>
          <p:cNvPr id="2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B9483475-6B13-5D88-E5DA-364A402874D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541030" y="2195584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Credit Risk Data Preparation</a:t>
            </a:r>
          </a:p>
        </p:txBody>
      </p:sp>
      <p:sp>
        <p:nvSpPr>
          <p:cNvPr id="5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4D24E2A4-6D94-D815-011C-BAA1A62F5CE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571999" y="2549209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Results on Credit Risk Data: Accuracy vs. Calibration</a:t>
            </a:r>
          </a:p>
        </p:txBody>
      </p:sp>
      <p:sp>
        <p:nvSpPr>
          <p:cNvPr id="6" name="Text Placeholder 4">
            <a:hlinkClick r:id="rId16" action="ppaction://hlinksldjump"/>
            <a:extLst>
              <a:ext uri="{FF2B5EF4-FFF2-40B4-BE49-F238E27FC236}">
                <a16:creationId xmlns:a16="http://schemas.microsoft.com/office/drawing/2014/main" id="{C2B4952A-8A57-D05F-3B50-2CEFE72A6D9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571999" y="2867988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Simulated Data Generation</a:t>
            </a:r>
          </a:p>
        </p:txBody>
      </p:sp>
      <p:sp>
        <p:nvSpPr>
          <p:cNvPr id="7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EA41B23B-5539-B73B-D142-61DFF193CB5C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571999" y="3203114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Results on Simulated Data</a:t>
            </a:r>
          </a:p>
        </p:txBody>
      </p:sp>
      <p:sp>
        <p:nvSpPr>
          <p:cNvPr id="12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325B2701-BD25-5A24-828A-83B799D3CA3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571999" y="3523363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Probability Intervals</a:t>
            </a:r>
          </a:p>
        </p:txBody>
      </p:sp>
      <p:sp>
        <p:nvSpPr>
          <p:cNvPr id="13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F01DA9CA-794C-F524-1E5D-32A8A79BE53E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571999" y="4111396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References</a:t>
            </a:r>
          </a:p>
        </p:txBody>
      </p:sp>
      <p:sp>
        <p:nvSpPr>
          <p:cNvPr id="14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22F063E4-4560-D8D6-F089-D6DE28E564A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571999" y="3824320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Conclusion &amp; Key Takeaways</a:t>
            </a:r>
          </a:p>
        </p:txBody>
      </p:sp>
    </p:spTree>
    <p:extLst>
      <p:ext uri="{BB962C8B-B14F-4D97-AF65-F5344CB8AC3E}">
        <p14:creationId xmlns:p14="http://schemas.microsoft.com/office/powerpoint/2010/main" val="372817629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7"/>
          <p:cNvSpPr txBox="1">
            <a:spLocks noGrp="1"/>
          </p:cNvSpPr>
          <p:nvPr>
            <p:ph type="title"/>
          </p:nvPr>
        </p:nvSpPr>
        <p:spPr>
          <a:xfrm>
            <a:off x="836507" y="2036550"/>
            <a:ext cx="2632407" cy="53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it" dirty="0"/>
              <a:t>Agenda</a:t>
            </a:r>
            <a:endParaRPr dirty="0"/>
          </a:p>
        </p:txBody>
      </p:sp>
      <p:sp>
        <p:nvSpPr>
          <p:cNvPr id="71" name="Google Shape;71;p7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/>
              <a:t>20</a:t>
            </a:fld>
            <a:endParaRPr/>
          </a:p>
        </p:txBody>
      </p:sp>
      <p:sp>
        <p:nvSpPr>
          <p:cNvPr id="72" name="Google Shape;72;p7"/>
          <p:cNvSpPr txBox="1">
            <a:spLocks noGrp="1"/>
          </p:cNvSpPr>
          <p:nvPr>
            <p:ph type="subTitle" idx="2"/>
          </p:nvPr>
        </p:nvSpPr>
        <p:spPr>
          <a:xfrm>
            <a:off x="1483507" y="4817905"/>
            <a:ext cx="7052795" cy="36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it" dirty="0"/>
              <a:t>Statistical Learning - </a:t>
            </a:r>
            <a:r>
              <a:rPr lang="en-US" sz="900" dirty="0"/>
              <a:t>The Importance of Being Calibrated: A Study on Probability Calibration and Interval Estimation for Binary Classification</a:t>
            </a:r>
            <a:endParaRPr sz="900" dirty="0"/>
          </a:p>
        </p:txBody>
      </p:sp>
      <p:pic>
        <p:nvPicPr>
          <p:cNvPr id="3" name="Picture 2" descr="A credit score gauge with a needle and a needle&#10;&#10;Description automatically generated with medium confidence">
            <a:extLst>
              <a:ext uri="{FF2B5EF4-FFF2-40B4-BE49-F238E27FC236}">
                <a16:creationId xmlns:a16="http://schemas.microsoft.com/office/drawing/2014/main" id="{9FCF091F-D737-673B-5DF8-C50E86D44B9B}"/>
              </a:ext>
            </a:extLst>
          </p:cNvPr>
          <p:cNvPicPr>
            <a:picLocks noChangeAspect="1"/>
          </p:cNvPicPr>
          <p:nvPr/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030" y="1838522"/>
            <a:ext cx="3875320" cy="217855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8C92F66-DD98-00C1-7C0B-03704970C3A5}"/>
              </a:ext>
            </a:extLst>
          </p:cNvPr>
          <p:cNvSpPr/>
          <p:nvPr/>
        </p:nvSpPr>
        <p:spPr>
          <a:xfrm>
            <a:off x="4215460" y="520159"/>
            <a:ext cx="4869542" cy="4307386"/>
          </a:xfrm>
          <a:prstGeom prst="rect">
            <a:avLst/>
          </a:prstGeom>
          <a:solidFill>
            <a:schemeClr val="bg2">
              <a:lumMod val="50000"/>
              <a:lumOff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A9F4115F-1744-27F1-D226-BAC0AD24BF02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4528427" y="888657"/>
            <a:ext cx="4383753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Introduction &amp; Motivation: Can We Trust a Model's Confidence?</a:t>
            </a:r>
            <a:endParaRPr lang="en-US" sz="1200" b="1" dirty="0">
              <a:solidFill>
                <a:schemeClr val="tx2"/>
              </a:solidFill>
              <a:latin typeface="Catamaran" panose="020B0604020202020204" charset="0"/>
              <a:cs typeface="Catamaran" panose="020B0604020202020204" charset="0"/>
            </a:endParaRPr>
          </a:p>
        </p:txBody>
      </p:sp>
      <p:sp>
        <p:nvSpPr>
          <p:cNvPr id="9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5F05BD8C-75CB-F6C3-0243-14FC44DD4137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4528427" y="1251873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Accuracy is Not Enough: Discrimination vs. Calibration</a:t>
            </a:r>
          </a:p>
        </p:txBody>
      </p:sp>
      <p:sp>
        <p:nvSpPr>
          <p:cNvPr id="10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123AAC5C-157B-3B55-1942-784B8E41094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4541030" y="1576677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Calibration Methods: Platt, Isotonic, and Venn-</a:t>
            </a:r>
            <a:r>
              <a:rPr lang="en-US" sz="1200" b="1" dirty="0" err="1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Abers</a:t>
            </a:r>
            <a:endParaRPr lang="en-US" sz="1200" b="1" dirty="0">
              <a:solidFill>
                <a:schemeClr val="tx2"/>
              </a:solidFill>
              <a:latin typeface="Catamaran" panose="020B0604020202020204" charset="0"/>
              <a:cs typeface="Catamaran" panose="020B0604020202020204" charset="0"/>
            </a:endParaRPr>
          </a:p>
        </p:txBody>
      </p:sp>
      <p:sp>
        <p:nvSpPr>
          <p:cNvPr id="11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B1D71953-C189-D7AC-2058-78E041D15A4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541030" y="1895304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Our Dataset &amp; Experimental Setup</a:t>
            </a:r>
          </a:p>
        </p:txBody>
      </p:sp>
      <p:sp>
        <p:nvSpPr>
          <p:cNvPr id="2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B9483475-6B13-5D88-E5DA-364A402874D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541030" y="2195584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Credit Risk Data Preparation</a:t>
            </a:r>
          </a:p>
        </p:txBody>
      </p:sp>
      <p:sp>
        <p:nvSpPr>
          <p:cNvPr id="5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4D24E2A4-6D94-D815-011C-BAA1A62F5CE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571999" y="2549209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Results on Credit Risk Data: Accuracy vs. Calibration</a:t>
            </a:r>
          </a:p>
        </p:txBody>
      </p:sp>
      <p:sp>
        <p:nvSpPr>
          <p:cNvPr id="6" name="Text Placeholder 4">
            <a:hlinkClick r:id="rId16" action="ppaction://hlinksldjump"/>
            <a:extLst>
              <a:ext uri="{FF2B5EF4-FFF2-40B4-BE49-F238E27FC236}">
                <a16:creationId xmlns:a16="http://schemas.microsoft.com/office/drawing/2014/main" id="{C2B4952A-8A57-D05F-3B50-2CEFE72A6D9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571999" y="2867988"/>
            <a:ext cx="3771900" cy="342900"/>
          </a:xfrm>
          <a:prstGeom prst="rect">
            <a:avLst/>
          </a:prstGeom>
          <a:solidFill>
            <a:srgbClr val="AD0505"/>
          </a:solidFill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1200" b="1" kern="1200" dirty="0">
                <a:solidFill>
                  <a:schemeClr val="bg1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Simulated Data Generation</a:t>
            </a:r>
          </a:p>
        </p:txBody>
      </p:sp>
      <p:sp>
        <p:nvSpPr>
          <p:cNvPr id="7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EA41B23B-5539-B73B-D142-61DFF193CB5C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571999" y="3203114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Results on Simulated Data</a:t>
            </a:r>
          </a:p>
        </p:txBody>
      </p:sp>
      <p:sp>
        <p:nvSpPr>
          <p:cNvPr id="12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325B2701-BD25-5A24-828A-83B799D3CA3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571999" y="3523363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Probability Intervals</a:t>
            </a:r>
          </a:p>
        </p:txBody>
      </p:sp>
      <p:sp>
        <p:nvSpPr>
          <p:cNvPr id="13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F01DA9CA-794C-F524-1E5D-32A8A79BE53E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571999" y="4111396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References</a:t>
            </a:r>
          </a:p>
        </p:txBody>
      </p:sp>
      <p:sp>
        <p:nvSpPr>
          <p:cNvPr id="14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22F063E4-4560-D8D6-F089-D6DE28E564A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571999" y="3824320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Conclusion &amp; Key Takeaways</a:t>
            </a:r>
          </a:p>
        </p:txBody>
      </p:sp>
    </p:spTree>
    <p:extLst>
      <p:ext uri="{BB962C8B-B14F-4D97-AF65-F5344CB8AC3E}">
        <p14:creationId xmlns:p14="http://schemas.microsoft.com/office/powerpoint/2010/main" val="138658397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9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/>
              <a:t>21</a:t>
            </a:fld>
            <a:endParaRPr/>
          </a:p>
        </p:txBody>
      </p:sp>
      <p:sp>
        <p:nvSpPr>
          <p:cNvPr id="90" name="Google Shape;90;p9"/>
          <p:cNvSpPr txBox="1">
            <a:spLocks noGrp="1"/>
          </p:cNvSpPr>
          <p:nvPr>
            <p:ph type="subTitle" idx="2"/>
          </p:nvPr>
        </p:nvSpPr>
        <p:spPr>
          <a:xfrm>
            <a:off x="1436298" y="4771127"/>
            <a:ext cx="6943614" cy="3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n-US" dirty="0"/>
              <a:t>Statistical Learning - </a:t>
            </a:r>
            <a:r>
              <a:rPr lang="en-US" sz="900" dirty="0"/>
              <a:t>The Importance of Being Calibrated: A Study on Probability Calibration and Interval Estimation for Binary Classification</a:t>
            </a:r>
          </a:p>
          <a:p>
            <a:pPr marL="0" lvl="0" indent="0" algn="l" rtl="0">
              <a:spcBef>
                <a:spcPts val="1600"/>
              </a:spcBef>
              <a:spcAft>
                <a:spcPts val="1600"/>
              </a:spcAft>
              <a:buNone/>
            </a:pPr>
            <a:endParaRPr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023C3644-C6D2-0259-40CC-72C1BCD33BB1}"/>
              </a:ext>
            </a:extLst>
          </p:cNvPr>
          <p:cNvSpPr/>
          <p:nvPr/>
        </p:nvSpPr>
        <p:spPr>
          <a:xfrm>
            <a:off x="472339" y="58549"/>
            <a:ext cx="407676" cy="383512"/>
          </a:xfrm>
          <a:prstGeom prst="ellipse">
            <a:avLst/>
          </a:prstGeom>
          <a:solidFill>
            <a:srgbClr val="AD0505"/>
          </a:solidFill>
          <a:ln>
            <a:solidFill>
              <a:srgbClr val="AD050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Google Shape;70;p7">
            <a:extLst>
              <a:ext uri="{FF2B5EF4-FFF2-40B4-BE49-F238E27FC236}">
                <a16:creationId xmlns:a16="http://schemas.microsoft.com/office/drawing/2014/main" id="{56CBA34D-F5DB-A9DB-6DE6-7F3E5089B807}"/>
              </a:ext>
            </a:extLst>
          </p:cNvPr>
          <p:cNvSpPr txBox="1">
            <a:spLocks/>
          </p:cNvSpPr>
          <p:nvPr/>
        </p:nvSpPr>
        <p:spPr>
          <a:xfrm>
            <a:off x="558092" y="58549"/>
            <a:ext cx="7688700" cy="53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Catamaran"/>
              <a:buNone/>
              <a:defRPr sz="2600" b="1" i="0" u="none" strike="noStrike" cap="none">
                <a:solidFill>
                  <a:schemeClr val="dk2"/>
                </a:solidFill>
                <a:latin typeface="Catamaran"/>
                <a:ea typeface="Catamaran"/>
                <a:cs typeface="Catamaran"/>
                <a:sym typeface="Catamara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r>
              <a:rPr lang="en-US" sz="1600" dirty="0"/>
              <a:t>Simulated Data Genera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 Placeholder 2">
                <a:extLst>
                  <a:ext uri="{FF2B5EF4-FFF2-40B4-BE49-F238E27FC236}">
                    <a16:creationId xmlns:a16="http://schemas.microsoft.com/office/drawing/2014/main" id="{0274B490-E5A4-B850-4EB7-26DD9D385554}"/>
                  </a:ext>
                </a:extLst>
              </p:cNvPr>
              <p:cNvSpPr>
                <a:spLocks noGrp="1"/>
              </p:cNvSpPr>
              <p:nvPr>
                <p:ph type="body" idx="1"/>
              </p:nvPr>
            </p:nvSpPr>
            <p:spPr>
              <a:xfrm>
                <a:off x="455147" y="843157"/>
                <a:ext cx="4116853" cy="3597320"/>
              </a:xfrm>
              <a:ln>
                <a:solidFill>
                  <a:srgbClr val="C00000"/>
                </a:solidFill>
              </a:ln>
            </p:spPr>
            <p:txBody>
              <a:bodyPr/>
              <a:lstStyle/>
              <a:p>
                <a:pPr marL="57150" indent="0">
                  <a:buNone/>
                </a:pPr>
                <a:endParaRPr lang="en-US" sz="1100" b="1" dirty="0"/>
              </a:p>
              <a:p>
                <a:pPr marL="57150" indent="0">
                  <a:buNone/>
                </a:pPr>
                <a:r>
                  <a:rPr lang="en-US" sz="1100" b="1" dirty="0"/>
                  <a:t>For Class 0 :</a:t>
                </a:r>
              </a:p>
              <a:p>
                <a:pPr marL="344488" indent="-254000">
                  <a:lnSpc>
                    <a:spcPct val="100000"/>
                  </a:lnSpc>
                </a:pPr>
                <a:r>
                  <a:rPr lang="en-US" sz="1000" dirty="0">
                    <a:latin typeface="Catamaran" panose="020B0604020202020204" charset="0"/>
                    <a:cs typeface="Catamaran" panose="020B0604020202020204" charset="0"/>
                  </a:rPr>
                  <a:t>70% of samples: </a:t>
                </a:r>
                <a14:m>
                  <m:oMath xmlns:m="http://schemas.openxmlformats.org/officeDocument/2006/math">
                    <m:r>
                      <a:rPr lang="en-US" sz="1000" b="1" i="1" dirty="0" smtClean="0">
                        <a:latin typeface="Cambria Math" panose="02040503050406030204" pitchFamily="18" charset="0"/>
                      </a:rPr>
                      <m:t>𝑩𝒆𝒕𝒂</m:t>
                    </m:r>
                    <m:r>
                      <a:rPr lang="en-US" sz="1000" b="1" i="1" dirty="0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sz="1000" b="1" i="1" dirty="0" smtClean="0">
                        <a:latin typeface="Cambria Math" panose="02040503050406030204" pitchFamily="18" charset="0"/>
                      </a:rPr>
                      <m:t>𝜶</m:t>
                    </m:r>
                    <m:r>
                      <a:rPr lang="en-US" sz="1000" b="1" i="1" dirty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1000" b="1" i="1" dirty="0" smtClean="0">
                        <a:latin typeface="Cambria Math" panose="02040503050406030204" pitchFamily="18" charset="0"/>
                      </a:rPr>
                      <m:t>𝟐</m:t>
                    </m:r>
                    <m:r>
                      <a:rPr lang="en-US" sz="1000" b="1" i="1" dirty="0" smtClean="0">
                        <a:latin typeface="Cambria Math" panose="02040503050406030204" pitchFamily="18" charset="0"/>
                      </a:rPr>
                      <m:t>, </m:t>
                    </m:r>
                    <m:r>
                      <a:rPr lang="en-US" sz="1000" b="1" i="1" dirty="0" smtClean="0">
                        <a:latin typeface="Cambria Math" panose="02040503050406030204" pitchFamily="18" charset="0"/>
                      </a:rPr>
                      <m:t>𝜷</m:t>
                    </m:r>
                    <m:r>
                      <a:rPr lang="en-US" sz="1000" b="1" i="1" dirty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1000" b="1" i="1" dirty="0" smtClean="0">
                        <a:latin typeface="Cambria Math" panose="02040503050406030204" pitchFamily="18" charset="0"/>
                      </a:rPr>
                      <m:t>𝟖</m:t>
                    </m:r>
                    <m:r>
                      <a:rPr lang="en-US" sz="1000" b="1" i="1" dirty="0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sz="1000" b="1" dirty="0">
                    <a:latin typeface="Catamaran" panose="020B0604020202020204" charset="0"/>
                    <a:cs typeface="Catamaran" panose="020B0604020202020204" charset="0"/>
                  </a:rPr>
                  <a:t> </a:t>
                </a:r>
                <a:r>
                  <a:rPr lang="en-US" sz="1000" dirty="0">
                    <a:latin typeface="Catamaran" panose="020B0604020202020204" charset="0"/>
                    <a:cs typeface="Catamaran" panose="020B0604020202020204" charset="0"/>
                  </a:rPr>
                  <a:t>(Accurate, low-confidence predictions)</a:t>
                </a:r>
              </a:p>
              <a:p>
                <a:pPr marL="344488" indent="-254000">
                  <a:lnSpc>
                    <a:spcPct val="100000"/>
                  </a:lnSpc>
                </a:pPr>
                <a:r>
                  <a:rPr lang="en-US" sz="1000" dirty="0">
                    <a:latin typeface="Catamaran" panose="020B0604020202020204" charset="0"/>
                    <a:cs typeface="Catamaran" panose="020B0604020202020204" charset="0"/>
                  </a:rPr>
                  <a:t>30% of samples: </a:t>
                </a:r>
                <a14:m>
                  <m:oMath xmlns:m="http://schemas.openxmlformats.org/officeDocument/2006/math">
                    <m:r>
                      <a:rPr lang="en-US" sz="1000" b="1" i="1" dirty="0" smtClean="0">
                        <a:latin typeface="Cambria Math" panose="02040503050406030204" pitchFamily="18" charset="0"/>
                      </a:rPr>
                      <m:t>𝑩𝒆𝒕𝒂</m:t>
                    </m:r>
                    <m:d>
                      <m:dPr>
                        <m:ctrlPr>
                          <a:rPr lang="en-US" sz="1000" b="1" i="1" dirty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000" b="1" i="1" dirty="0" smtClean="0">
                            <a:latin typeface="Cambria Math" panose="02040503050406030204" pitchFamily="18" charset="0"/>
                          </a:rPr>
                          <m:t>𝜶</m:t>
                        </m:r>
                        <m:r>
                          <a:rPr lang="en-US" sz="1000" b="1" i="1" dirty="0" smtClean="0"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US" sz="1000" b="1" i="1" dirty="0" smtClean="0">
                            <a:latin typeface="Cambria Math" panose="02040503050406030204" pitchFamily="18" charset="0"/>
                          </a:rPr>
                          <m:t>𝟕</m:t>
                        </m:r>
                        <m:r>
                          <a:rPr lang="en-US" sz="1000" b="1" i="1" dirty="0" smtClean="0">
                            <a:latin typeface="Cambria Math" panose="02040503050406030204" pitchFamily="18" charset="0"/>
                          </a:rPr>
                          <m:t>, </m:t>
                        </m:r>
                        <m:r>
                          <a:rPr lang="en-US" sz="1000" b="1" i="1" dirty="0" smtClean="0">
                            <a:latin typeface="Cambria Math" panose="02040503050406030204" pitchFamily="18" charset="0"/>
                          </a:rPr>
                          <m:t>𝜷</m:t>
                        </m:r>
                        <m:r>
                          <a:rPr lang="en-US" sz="1000" b="1" i="1" dirty="0" smtClean="0"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US" sz="1000" b="1" i="1" dirty="0" smtClean="0">
                            <a:latin typeface="Cambria Math" panose="02040503050406030204" pitchFamily="18" charset="0"/>
                          </a:rPr>
                          <m:t>𝟑</m:t>
                        </m:r>
                      </m:e>
                    </m:d>
                  </m:oMath>
                </a14:m>
                <a:r>
                  <a:rPr lang="en-US" sz="1000" dirty="0">
                    <a:latin typeface="Catamaran" panose="020B0604020202020204" charset="0"/>
                    <a:cs typeface="Catamaran" panose="020B0604020202020204" charset="0"/>
                  </a:rPr>
                  <a:t> (Overconfident errors)</a:t>
                </a:r>
              </a:p>
              <a:p>
                <a:pPr marL="344488" indent="-254000">
                  <a:lnSpc>
                    <a:spcPct val="100000"/>
                  </a:lnSpc>
                </a:pPr>
                <a:endParaRPr lang="en-US" sz="1200" dirty="0">
                  <a:latin typeface="Catamaran" panose="020B0604020202020204" charset="0"/>
                  <a:cs typeface="Catamaran" panose="020B0604020202020204" charset="0"/>
                </a:endParaRPr>
              </a:p>
              <a:p>
                <a:pPr marL="90488" indent="0">
                  <a:lnSpc>
                    <a:spcPct val="100000"/>
                  </a:lnSpc>
                  <a:buNone/>
                </a:pPr>
                <a:r>
                  <a:rPr lang="en-US" sz="1100" b="1" dirty="0"/>
                  <a:t>For Class 1 :</a:t>
                </a:r>
              </a:p>
              <a:p>
                <a:pPr marL="344488" indent="-254000">
                  <a:lnSpc>
                    <a:spcPct val="100000"/>
                  </a:lnSpc>
                </a:pPr>
                <a:r>
                  <a:rPr lang="en-US" sz="1000" dirty="0"/>
                  <a:t>70% of samples: </a:t>
                </a:r>
                <a14:m>
                  <m:oMath xmlns:m="http://schemas.openxmlformats.org/officeDocument/2006/math">
                    <m:r>
                      <a:rPr lang="en-US" sz="1000" b="1" i="1" dirty="0" smtClean="0">
                        <a:latin typeface="Cambria Math" panose="02040503050406030204" pitchFamily="18" charset="0"/>
                      </a:rPr>
                      <m:t>𝑩𝒆𝒕𝒂</m:t>
                    </m:r>
                    <m:d>
                      <m:dPr>
                        <m:ctrlPr>
                          <a:rPr lang="en-US" sz="1000" b="1" i="1" dirty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000" b="1" i="1" dirty="0" smtClean="0">
                            <a:latin typeface="Cambria Math" panose="02040503050406030204" pitchFamily="18" charset="0"/>
                          </a:rPr>
                          <m:t>𝜶</m:t>
                        </m:r>
                        <m:r>
                          <a:rPr lang="en-US" sz="1000" b="1" i="1" dirty="0" smtClean="0"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US" sz="1000" b="1" i="1" dirty="0" smtClean="0">
                            <a:latin typeface="Cambria Math" panose="02040503050406030204" pitchFamily="18" charset="0"/>
                          </a:rPr>
                          <m:t>𝟖</m:t>
                        </m:r>
                        <m:r>
                          <a:rPr lang="en-US" sz="1000" b="1" i="1" dirty="0" smtClean="0">
                            <a:latin typeface="Cambria Math" panose="02040503050406030204" pitchFamily="18" charset="0"/>
                          </a:rPr>
                          <m:t>, </m:t>
                        </m:r>
                        <m:r>
                          <a:rPr lang="en-US" sz="1000" b="1" i="1" dirty="0" smtClean="0">
                            <a:latin typeface="Cambria Math" panose="02040503050406030204" pitchFamily="18" charset="0"/>
                          </a:rPr>
                          <m:t>𝜷</m:t>
                        </m:r>
                        <m:r>
                          <a:rPr lang="en-US" sz="1000" b="1" i="1" dirty="0" smtClean="0"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US" sz="1000" b="1" i="1" dirty="0" smtClean="0">
                            <a:latin typeface="Cambria Math" panose="02040503050406030204" pitchFamily="18" charset="0"/>
                          </a:rPr>
                          <m:t>𝟐</m:t>
                        </m:r>
                      </m:e>
                    </m:d>
                  </m:oMath>
                </a14:m>
                <a:r>
                  <a:rPr lang="en-US" sz="1000" dirty="0"/>
                  <a:t> (Accurate, high-confidence predictions).</a:t>
                </a:r>
              </a:p>
              <a:p>
                <a:pPr marL="344488" indent="-254000">
                  <a:lnSpc>
                    <a:spcPct val="100000"/>
                  </a:lnSpc>
                </a:pPr>
                <a:r>
                  <a:rPr lang="en-US" sz="1000" dirty="0"/>
                  <a:t>30% of samples: </a:t>
                </a:r>
                <a14:m>
                  <m:oMath xmlns:m="http://schemas.openxmlformats.org/officeDocument/2006/math">
                    <m:r>
                      <a:rPr lang="en-US" sz="1000" b="1" i="1" dirty="0" smtClean="0">
                        <a:latin typeface="Cambria Math" panose="02040503050406030204" pitchFamily="18" charset="0"/>
                      </a:rPr>
                      <m:t>𝑩𝒆𝒕𝒂</m:t>
                    </m:r>
                    <m:d>
                      <m:dPr>
                        <m:ctrlPr>
                          <a:rPr lang="en-US" sz="1000" b="1" i="1" dirty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000" b="1" i="1" dirty="0" smtClean="0">
                            <a:latin typeface="Cambria Math" panose="02040503050406030204" pitchFamily="18" charset="0"/>
                          </a:rPr>
                          <m:t>𝜶</m:t>
                        </m:r>
                        <m:r>
                          <a:rPr lang="en-US" sz="1000" b="1" i="1" dirty="0" smtClean="0"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US" sz="1000" b="1" i="1" dirty="0" smtClean="0">
                            <a:latin typeface="Cambria Math" panose="02040503050406030204" pitchFamily="18" charset="0"/>
                          </a:rPr>
                          <m:t>𝟑</m:t>
                        </m:r>
                        <m:r>
                          <a:rPr lang="en-US" sz="1000" b="1" i="1" dirty="0" smtClean="0">
                            <a:latin typeface="Cambria Math" panose="02040503050406030204" pitchFamily="18" charset="0"/>
                          </a:rPr>
                          <m:t>, </m:t>
                        </m:r>
                        <m:r>
                          <a:rPr lang="en-US" sz="1000" b="1" i="1" dirty="0" smtClean="0">
                            <a:latin typeface="Cambria Math" panose="02040503050406030204" pitchFamily="18" charset="0"/>
                          </a:rPr>
                          <m:t>𝜷</m:t>
                        </m:r>
                        <m:r>
                          <a:rPr lang="en-US" sz="1000" b="1" i="1" dirty="0" smtClean="0"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US" sz="1000" b="1" i="1" dirty="0" smtClean="0">
                            <a:latin typeface="Cambria Math" panose="02040503050406030204" pitchFamily="18" charset="0"/>
                          </a:rPr>
                          <m:t>𝟕</m:t>
                        </m:r>
                      </m:e>
                    </m:d>
                    <m:r>
                      <a:rPr lang="en-US" sz="1000" b="1" i="0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1000" dirty="0"/>
                  <a:t>(Underconfident errors)</a:t>
                </a:r>
              </a:p>
              <a:p>
                <a:pPr marL="344488" indent="-254000">
                  <a:lnSpc>
                    <a:spcPct val="100000"/>
                  </a:lnSpc>
                </a:pPr>
                <a:endParaRPr lang="en-US" dirty="0"/>
              </a:p>
              <a:p>
                <a:pPr marL="90488" indent="0">
                  <a:lnSpc>
                    <a:spcPct val="100000"/>
                  </a:lnSpc>
                  <a:buNone/>
                </a:pPr>
                <a:r>
                  <a:rPr lang="en-US" sz="1400" b="1" dirty="0"/>
                  <a:t>	</a:t>
                </a:r>
              </a:p>
              <a:p>
                <a:pPr marL="261938" indent="-171450">
                  <a:lnSpc>
                    <a:spcPct val="100000"/>
                  </a:lnSpc>
                </a:pPr>
                <a:r>
                  <a:rPr lang="en-US" sz="1100" b="1" dirty="0"/>
                  <a:t>Dataset Size: </a:t>
                </a:r>
                <a:r>
                  <a:rPr lang="en-US" sz="1100" dirty="0"/>
                  <a:t>1,000 / 10,000 / 50,000;</a:t>
                </a:r>
              </a:p>
              <a:p>
                <a:pPr marL="261938" indent="-171450">
                  <a:lnSpc>
                    <a:spcPct val="100000"/>
                  </a:lnSpc>
                </a:pPr>
                <a:endParaRPr lang="en-US" sz="1100" dirty="0"/>
              </a:p>
              <a:p>
                <a:pPr marL="261938" indent="-171450">
                  <a:lnSpc>
                    <a:spcPct val="100000"/>
                  </a:lnSpc>
                </a:pPr>
                <a:r>
                  <a:rPr lang="en-US" sz="1100" b="1" dirty="0"/>
                  <a:t>Class Imbalance: </a:t>
                </a:r>
                <a:r>
                  <a:rPr lang="en-US" sz="1100" dirty="0"/>
                  <a:t>5%, 10%, 20%, 30%, 40%, 50% positive class prevalence</a:t>
                </a:r>
              </a:p>
              <a:p>
                <a:pPr marL="261938" indent="-171450">
                  <a:lnSpc>
                    <a:spcPct val="100000"/>
                  </a:lnSpc>
                </a:pPr>
                <a:endParaRPr lang="en-US" sz="1000" b="1" dirty="0"/>
              </a:p>
              <a:p>
                <a:pPr marL="90488" indent="0">
                  <a:lnSpc>
                    <a:spcPct val="100000"/>
                  </a:lnSpc>
                  <a:buNone/>
                </a:pPr>
                <a:r>
                  <a:rPr lang="en-US" sz="1000" dirty="0"/>
                  <a:t>This resulted in a grid of </a:t>
                </a:r>
                <a:r>
                  <a:rPr lang="en-US" sz="1000" b="1" dirty="0"/>
                  <a:t>3 x 6 = 18 </a:t>
                </a:r>
                <a:r>
                  <a:rPr lang="en-US" sz="1000" dirty="0"/>
                  <a:t>distinct simulation scenarios, allowing us to draw strong conclusions about the performance and reliability of </a:t>
                </a:r>
                <a:r>
                  <a:rPr lang="en-US" sz="1000" b="1" dirty="0"/>
                  <a:t>Platt Scaling</a:t>
                </a:r>
                <a:r>
                  <a:rPr lang="en-US" sz="1000" dirty="0"/>
                  <a:t>, </a:t>
                </a:r>
                <a:r>
                  <a:rPr lang="en-US" sz="1000" b="1" dirty="0"/>
                  <a:t>Isotonic Regression</a:t>
                </a:r>
                <a:r>
                  <a:rPr lang="en-US" sz="1000" dirty="0"/>
                  <a:t>, and </a:t>
                </a:r>
                <a:r>
                  <a:rPr lang="en-US" sz="1000" b="1" dirty="0"/>
                  <a:t>Venn-</a:t>
                </a:r>
                <a:r>
                  <a:rPr lang="en-US" sz="1000" b="1" dirty="0" err="1"/>
                  <a:t>Abers</a:t>
                </a:r>
                <a:r>
                  <a:rPr lang="en-US" sz="1000" dirty="0"/>
                  <a:t> under a wide range of conditions.</a:t>
                </a:r>
              </a:p>
            </p:txBody>
          </p:sp>
        </mc:Choice>
        <mc:Fallback xmlns="">
          <p:sp>
            <p:nvSpPr>
              <p:cNvPr id="2" name="Text Placeholder 2">
                <a:extLst>
                  <a:ext uri="{FF2B5EF4-FFF2-40B4-BE49-F238E27FC236}">
                    <a16:creationId xmlns:a16="http://schemas.microsoft.com/office/drawing/2014/main" id="{0274B490-E5A4-B850-4EB7-26DD9D385554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xfrm>
                <a:off x="455147" y="843157"/>
                <a:ext cx="4116853" cy="3597320"/>
              </a:xfrm>
              <a:blipFill>
                <a:blip r:embed="rId3"/>
                <a:stretch>
                  <a:fillRect b="-1689"/>
                </a:stretch>
              </a:blipFill>
              <a:ln>
                <a:solidFill>
                  <a:srgbClr val="C0000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Google Shape;73;p7">
            <a:extLst>
              <a:ext uri="{FF2B5EF4-FFF2-40B4-BE49-F238E27FC236}">
                <a16:creationId xmlns:a16="http://schemas.microsoft.com/office/drawing/2014/main" id="{E5C26309-FECF-DF79-1102-78088B903F06}"/>
              </a:ext>
            </a:extLst>
          </p:cNvPr>
          <p:cNvSpPr txBox="1"/>
          <p:nvPr/>
        </p:nvSpPr>
        <p:spPr>
          <a:xfrm>
            <a:off x="1520885" y="863512"/>
            <a:ext cx="1985375" cy="31164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 algn="ctr" rtl="0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chemeClr val="bg1">
                    <a:lumMod val="95000"/>
                  </a:schemeClr>
                </a:solidFill>
                <a:latin typeface="Catamaran"/>
                <a:ea typeface="Catamaran"/>
                <a:cs typeface="Catamaran"/>
                <a:sym typeface="Catamaran"/>
              </a:rPr>
              <a:t>Data Generation Process</a:t>
            </a:r>
          </a:p>
          <a:p>
            <a:pPr lvl="0" algn="ctr" rtl="0">
              <a:spcBef>
                <a:spcPts val="0"/>
              </a:spcBef>
              <a:spcAft>
                <a:spcPts val="0"/>
              </a:spcAft>
            </a:pPr>
            <a:endParaRPr lang="en-US" b="1" i="1" dirty="0">
              <a:solidFill>
                <a:schemeClr val="bg1">
                  <a:lumMod val="95000"/>
                </a:schemeClr>
              </a:solidFill>
              <a:latin typeface="Catamaran"/>
              <a:ea typeface="Catamaran"/>
              <a:cs typeface="Catamaran"/>
              <a:sym typeface="Catamaran"/>
            </a:endParaRPr>
          </a:p>
        </p:txBody>
      </p:sp>
      <p:sp>
        <p:nvSpPr>
          <p:cNvPr id="8" name="Google Shape;73;p7">
            <a:extLst>
              <a:ext uri="{FF2B5EF4-FFF2-40B4-BE49-F238E27FC236}">
                <a16:creationId xmlns:a16="http://schemas.microsoft.com/office/drawing/2014/main" id="{4B20106D-AC57-67B3-7DAB-30DC88D5E742}"/>
              </a:ext>
            </a:extLst>
          </p:cNvPr>
          <p:cNvSpPr txBox="1"/>
          <p:nvPr/>
        </p:nvSpPr>
        <p:spPr>
          <a:xfrm>
            <a:off x="1616309" y="2666661"/>
            <a:ext cx="1985375" cy="31164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 algn="ctr" rtl="0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chemeClr val="bg1">
                    <a:lumMod val="95000"/>
                  </a:schemeClr>
                </a:solidFill>
                <a:latin typeface="Catamaran"/>
                <a:ea typeface="Catamaran"/>
                <a:cs typeface="Catamaran"/>
                <a:sym typeface="Catamaran"/>
              </a:rPr>
              <a:t>Simulation Scenarios</a:t>
            </a:r>
          </a:p>
          <a:p>
            <a:pPr lvl="0" algn="ctr" rtl="0">
              <a:spcBef>
                <a:spcPts val="0"/>
              </a:spcBef>
              <a:spcAft>
                <a:spcPts val="0"/>
              </a:spcAft>
            </a:pPr>
            <a:endParaRPr lang="en-US" b="1" i="1" dirty="0">
              <a:solidFill>
                <a:schemeClr val="bg1">
                  <a:lumMod val="95000"/>
                </a:schemeClr>
              </a:solidFill>
              <a:latin typeface="Catamaran"/>
              <a:ea typeface="Catamaran"/>
              <a:cs typeface="Catamaran"/>
              <a:sym typeface="Catamaran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8D5F6E6-A11A-B358-2086-34D43318E5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13244" y="1135954"/>
            <a:ext cx="4239893" cy="2871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06522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7"/>
          <p:cNvSpPr txBox="1">
            <a:spLocks noGrp="1"/>
          </p:cNvSpPr>
          <p:nvPr>
            <p:ph type="title"/>
          </p:nvPr>
        </p:nvSpPr>
        <p:spPr>
          <a:xfrm>
            <a:off x="836507" y="2036550"/>
            <a:ext cx="2632407" cy="53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it" dirty="0"/>
              <a:t>Agenda</a:t>
            </a:r>
            <a:endParaRPr dirty="0"/>
          </a:p>
        </p:txBody>
      </p:sp>
      <p:sp>
        <p:nvSpPr>
          <p:cNvPr id="71" name="Google Shape;71;p7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/>
              <a:t>22</a:t>
            </a:fld>
            <a:endParaRPr/>
          </a:p>
        </p:txBody>
      </p:sp>
      <p:sp>
        <p:nvSpPr>
          <p:cNvPr id="72" name="Google Shape;72;p7"/>
          <p:cNvSpPr txBox="1">
            <a:spLocks noGrp="1"/>
          </p:cNvSpPr>
          <p:nvPr>
            <p:ph type="subTitle" idx="2"/>
          </p:nvPr>
        </p:nvSpPr>
        <p:spPr>
          <a:xfrm>
            <a:off x="1414800" y="4823639"/>
            <a:ext cx="7297052" cy="36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it" dirty="0"/>
              <a:t>Statistical Learning - </a:t>
            </a:r>
            <a:r>
              <a:rPr lang="en-US" sz="900" dirty="0"/>
              <a:t>The Importance of Being Calibrated: A Study on Probability Calibration and Interval Estimation for Binary Classification</a:t>
            </a:r>
            <a:endParaRPr sz="900" dirty="0"/>
          </a:p>
        </p:txBody>
      </p:sp>
      <p:pic>
        <p:nvPicPr>
          <p:cNvPr id="3" name="Picture 2" descr="A credit score gauge with a needle and a needle&#10;&#10;Description automatically generated with medium confidence">
            <a:extLst>
              <a:ext uri="{FF2B5EF4-FFF2-40B4-BE49-F238E27FC236}">
                <a16:creationId xmlns:a16="http://schemas.microsoft.com/office/drawing/2014/main" id="{9FCF091F-D737-673B-5DF8-C50E86D44B9B}"/>
              </a:ext>
            </a:extLst>
          </p:cNvPr>
          <p:cNvPicPr>
            <a:picLocks noChangeAspect="1"/>
          </p:cNvPicPr>
          <p:nvPr/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030" y="1838522"/>
            <a:ext cx="3875320" cy="217855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8C92F66-DD98-00C1-7C0B-03704970C3A5}"/>
              </a:ext>
            </a:extLst>
          </p:cNvPr>
          <p:cNvSpPr/>
          <p:nvPr/>
        </p:nvSpPr>
        <p:spPr>
          <a:xfrm>
            <a:off x="4215460" y="495937"/>
            <a:ext cx="4869542" cy="4307386"/>
          </a:xfrm>
          <a:prstGeom prst="rect">
            <a:avLst/>
          </a:prstGeom>
          <a:solidFill>
            <a:schemeClr val="bg2">
              <a:lumMod val="50000"/>
              <a:lumOff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A9F4115F-1744-27F1-D226-BAC0AD24BF02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4528427" y="888657"/>
            <a:ext cx="4383753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Introduction &amp; Motivation: Can We Trust a Model's Confidence?</a:t>
            </a:r>
            <a:endParaRPr lang="en-US" sz="1200" b="1" dirty="0">
              <a:solidFill>
                <a:schemeClr val="tx2"/>
              </a:solidFill>
              <a:latin typeface="Catamaran" panose="020B0604020202020204" charset="0"/>
              <a:cs typeface="Catamaran" panose="020B0604020202020204" charset="0"/>
            </a:endParaRPr>
          </a:p>
        </p:txBody>
      </p:sp>
      <p:sp>
        <p:nvSpPr>
          <p:cNvPr id="9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5F05BD8C-75CB-F6C3-0243-14FC44DD4137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4528427" y="1251873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Accuracy is Not Enough: Discrimination vs. Calibration</a:t>
            </a:r>
          </a:p>
        </p:txBody>
      </p:sp>
      <p:sp>
        <p:nvSpPr>
          <p:cNvPr id="10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123AAC5C-157B-3B55-1942-784B8E41094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4541030" y="1576677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Calibration Methods: Platt, Isotonic, and Venn-</a:t>
            </a:r>
            <a:r>
              <a:rPr lang="en-US" sz="1200" b="1" dirty="0" err="1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Abers</a:t>
            </a:r>
            <a:endParaRPr lang="en-US" sz="1200" b="1" dirty="0">
              <a:solidFill>
                <a:schemeClr val="tx2"/>
              </a:solidFill>
              <a:latin typeface="Catamaran" panose="020B0604020202020204" charset="0"/>
              <a:cs typeface="Catamaran" panose="020B0604020202020204" charset="0"/>
            </a:endParaRPr>
          </a:p>
        </p:txBody>
      </p:sp>
      <p:sp>
        <p:nvSpPr>
          <p:cNvPr id="11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B1D71953-C189-D7AC-2058-78E041D15A4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541030" y="1895304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Our Dataset &amp; Experimental Setup</a:t>
            </a:r>
          </a:p>
        </p:txBody>
      </p:sp>
      <p:sp>
        <p:nvSpPr>
          <p:cNvPr id="2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B9483475-6B13-5D88-E5DA-364A402874D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541030" y="2195584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Credit Risk Data Preparation</a:t>
            </a:r>
          </a:p>
        </p:txBody>
      </p:sp>
      <p:sp>
        <p:nvSpPr>
          <p:cNvPr id="5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4D24E2A4-6D94-D815-011C-BAA1A62F5CE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571999" y="2549209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Results on Credit Risk Data: Accuracy vs. Calibration</a:t>
            </a:r>
          </a:p>
        </p:txBody>
      </p:sp>
      <p:sp>
        <p:nvSpPr>
          <p:cNvPr id="6" name="Text Placeholder 4">
            <a:hlinkClick r:id="rId16" action="ppaction://hlinksldjump"/>
            <a:extLst>
              <a:ext uri="{FF2B5EF4-FFF2-40B4-BE49-F238E27FC236}">
                <a16:creationId xmlns:a16="http://schemas.microsoft.com/office/drawing/2014/main" id="{C2B4952A-8A57-D05F-3B50-2CEFE72A6D9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571999" y="2867988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Simulated Data Generation</a:t>
            </a:r>
          </a:p>
        </p:txBody>
      </p:sp>
      <p:sp>
        <p:nvSpPr>
          <p:cNvPr id="7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EA41B23B-5539-B73B-D142-61DFF193CB5C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571999" y="3203114"/>
            <a:ext cx="3771900" cy="342900"/>
          </a:xfrm>
          <a:prstGeom prst="rect">
            <a:avLst/>
          </a:prstGeom>
          <a:solidFill>
            <a:srgbClr val="AD0505"/>
          </a:solidFill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1200" b="1" kern="1200" dirty="0">
                <a:solidFill>
                  <a:schemeClr val="bg1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Results on Simulated Data</a:t>
            </a:r>
          </a:p>
        </p:txBody>
      </p:sp>
      <p:sp>
        <p:nvSpPr>
          <p:cNvPr id="12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325B2701-BD25-5A24-828A-83B799D3CA3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571999" y="3523363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Probability Intervals</a:t>
            </a:r>
          </a:p>
        </p:txBody>
      </p:sp>
      <p:sp>
        <p:nvSpPr>
          <p:cNvPr id="13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F01DA9CA-794C-F524-1E5D-32A8A79BE53E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571999" y="4111396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References</a:t>
            </a:r>
          </a:p>
        </p:txBody>
      </p:sp>
      <p:sp>
        <p:nvSpPr>
          <p:cNvPr id="14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22F063E4-4560-D8D6-F089-D6DE28E564A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571999" y="3824320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Conclusion &amp; Key Takeaways</a:t>
            </a:r>
          </a:p>
        </p:txBody>
      </p:sp>
    </p:spTree>
    <p:extLst>
      <p:ext uri="{BB962C8B-B14F-4D97-AF65-F5344CB8AC3E}">
        <p14:creationId xmlns:p14="http://schemas.microsoft.com/office/powerpoint/2010/main" val="245491538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9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/>
              <a:t>23</a:t>
            </a:fld>
            <a:endParaRPr/>
          </a:p>
        </p:txBody>
      </p:sp>
      <p:sp>
        <p:nvSpPr>
          <p:cNvPr id="90" name="Google Shape;90;p9"/>
          <p:cNvSpPr txBox="1">
            <a:spLocks noGrp="1"/>
          </p:cNvSpPr>
          <p:nvPr>
            <p:ph type="subTitle" idx="2"/>
          </p:nvPr>
        </p:nvSpPr>
        <p:spPr>
          <a:xfrm>
            <a:off x="1430034" y="4749851"/>
            <a:ext cx="6816757" cy="3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n-US" dirty="0"/>
              <a:t>Statistical Learning - </a:t>
            </a:r>
            <a:r>
              <a:rPr lang="en-US" sz="900" dirty="0"/>
              <a:t>The Importance of Being Calibrated: A Study on Probability Calibration and Interval Estimation for Binary Classification</a:t>
            </a:r>
          </a:p>
          <a:p>
            <a:pPr marL="0" lvl="0" indent="0" algn="l" rtl="0">
              <a:spcBef>
                <a:spcPts val="1600"/>
              </a:spcBef>
              <a:spcAft>
                <a:spcPts val="1600"/>
              </a:spcAft>
              <a:buNone/>
            </a:pPr>
            <a:endParaRPr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831E83C0-ED62-3E10-197C-103B14DEBA6B}"/>
              </a:ext>
            </a:extLst>
          </p:cNvPr>
          <p:cNvSpPr/>
          <p:nvPr/>
        </p:nvSpPr>
        <p:spPr>
          <a:xfrm>
            <a:off x="472339" y="58549"/>
            <a:ext cx="407676" cy="383512"/>
          </a:xfrm>
          <a:prstGeom prst="ellipse">
            <a:avLst/>
          </a:prstGeom>
          <a:solidFill>
            <a:srgbClr val="AD0505"/>
          </a:solidFill>
          <a:ln>
            <a:solidFill>
              <a:srgbClr val="AD050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Google Shape;70;p7">
            <a:extLst>
              <a:ext uri="{FF2B5EF4-FFF2-40B4-BE49-F238E27FC236}">
                <a16:creationId xmlns:a16="http://schemas.microsoft.com/office/drawing/2014/main" id="{CA6C6D59-9F64-7A20-D1E4-0F4F39A02480}"/>
              </a:ext>
            </a:extLst>
          </p:cNvPr>
          <p:cNvSpPr txBox="1">
            <a:spLocks/>
          </p:cNvSpPr>
          <p:nvPr/>
        </p:nvSpPr>
        <p:spPr>
          <a:xfrm>
            <a:off x="558092" y="58549"/>
            <a:ext cx="7688700" cy="53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Catamaran"/>
              <a:buNone/>
              <a:defRPr sz="2600" b="1" i="0" u="none" strike="noStrike" cap="none">
                <a:solidFill>
                  <a:schemeClr val="dk2"/>
                </a:solidFill>
                <a:latin typeface="Catamaran"/>
                <a:ea typeface="Catamaran"/>
                <a:cs typeface="Catamaran"/>
                <a:sym typeface="Catamara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r>
              <a:rPr lang="en-US" sz="1600" dirty="0"/>
              <a:t>Results on Simulated Data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F301674C-FB5B-F08B-D54F-FC3A127BCD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0332022"/>
              </p:ext>
            </p:extLst>
          </p:nvPr>
        </p:nvGraphicFramePr>
        <p:xfrm>
          <a:off x="791466" y="639888"/>
          <a:ext cx="1976786" cy="1931862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382123">
                  <a:extLst>
                    <a:ext uri="{9D8B030D-6E8A-4147-A177-3AD203B41FA5}">
                      <a16:colId xmlns:a16="http://schemas.microsoft.com/office/drawing/2014/main" val="2413286585"/>
                    </a:ext>
                  </a:extLst>
                </a:gridCol>
                <a:gridCol w="407351">
                  <a:extLst>
                    <a:ext uri="{9D8B030D-6E8A-4147-A177-3AD203B41FA5}">
                      <a16:colId xmlns:a16="http://schemas.microsoft.com/office/drawing/2014/main" val="705427897"/>
                    </a:ext>
                  </a:extLst>
                </a:gridCol>
                <a:gridCol w="393896">
                  <a:extLst>
                    <a:ext uri="{9D8B030D-6E8A-4147-A177-3AD203B41FA5}">
                      <a16:colId xmlns:a16="http://schemas.microsoft.com/office/drawing/2014/main" val="136782701"/>
                    </a:ext>
                  </a:extLst>
                </a:gridCol>
                <a:gridCol w="402305">
                  <a:extLst>
                    <a:ext uri="{9D8B030D-6E8A-4147-A177-3AD203B41FA5}">
                      <a16:colId xmlns:a16="http://schemas.microsoft.com/office/drawing/2014/main" val="1331918043"/>
                    </a:ext>
                  </a:extLst>
                </a:gridCol>
                <a:gridCol w="391111">
                  <a:extLst>
                    <a:ext uri="{9D8B030D-6E8A-4147-A177-3AD203B41FA5}">
                      <a16:colId xmlns:a16="http://schemas.microsoft.com/office/drawing/2014/main" val="3110813919"/>
                    </a:ext>
                  </a:extLst>
                </a:gridCol>
              </a:tblGrid>
              <a:tr h="239082">
                <a:tc gridSpan="5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 dirty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E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992072"/>
                  </a:ext>
                </a:extLst>
              </a:tr>
              <a:tr h="239082">
                <a:tc gridSpan="5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Size = 1,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9170793"/>
                  </a:ext>
                </a:extLst>
              </a:tr>
              <a:tr h="239082"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6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R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P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IS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IVA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7668371"/>
                  </a:ext>
                </a:extLst>
              </a:tr>
              <a:tr h="201127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30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1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1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1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1920635"/>
                  </a:ext>
                </a:extLst>
              </a:tr>
              <a:tr h="229993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1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30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04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5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4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214426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2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23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05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i="0" u="none" strike="noStrike" cap="none" dirty="0">
                          <a:solidFill>
                            <a:srgbClr val="92D050"/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03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05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9168083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3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4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3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03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2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5722193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4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8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5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07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06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6866011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5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9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6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7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5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6105467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B4E5A3F3-4CFF-9829-96D5-39CC955BBC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353404"/>
              </p:ext>
            </p:extLst>
          </p:nvPr>
        </p:nvGraphicFramePr>
        <p:xfrm>
          <a:off x="3583607" y="639888"/>
          <a:ext cx="1976786" cy="1931862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382123">
                  <a:extLst>
                    <a:ext uri="{9D8B030D-6E8A-4147-A177-3AD203B41FA5}">
                      <a16:colId xmlns:a16="http://schemas.microsoft.com/office/drawing/2014/main" val="2413286585"/>
                    </a:ext>
                  </a:extLst>
                </a:gridCol>
                <a:gridCol w="407351">
                  <a:extLst>
                    <a:ext uri="{9D8B030D-6E8A-4147-A177-3AD203B41FA5}">
                      <a16:colId xmlns:a16="http://schemas.microsoft.com/office/drawing/2014/main" val="705427897"/>
                    </a:ext>
                  </a:extLst>
                </a:gridCol>
                <a:gridCol w="393896">
                  <a:extLst>
                    <a:ext uri="{9D8B030D-6E8A-4147-A177-3AD203B41FA5}">
                      <a16:colId xmlns:a16="http://schemas.microsoft.com/office/drawing/2014/main" val="136782701"/>
                    </a:ext>
                  </a:extLst>
                </a:gridCol>
                <a:gridCol w="402305">
                  <a:extLst>
                    <a:ext uri="{9D8B030D-6E8A-4147-A177-3AD203B41FA5}">
                      <a16:colId xmlns:a16="http://schemas.microsoft.com/office/drawing/2014/main" val="1331918043"/>
                    </a:ext>
                  </a:extLst>
                </a:gridCol>
                <a:gridCol w="391111">
                  <a:extLst>
                    <a:ext uri="{9D8B030D-6E8A-4147-A177-3AD203B41FA5}">
                      <a16:colId xmlns:a16="http://schemas.microsoft.com/office/drawing/2014/main" val="3110813919"/>
                    </a:ext>
                  </a:extLst>
                </a:gridCol>
              </a:tblGrid>
              <a:tr h="239082">
                <a:tc gridSpan="5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 dirty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E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992072"/>
                  </a:ext>
                </a:extLst>
              </a:tr>
              <a:tr h="239082">
                <a:tc gridSpan="5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Size = 10,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9170793"/>
                  </a:ext>
                </a:extLst>
              </a:tr>
              <a:tr h="239082"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6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R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P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IS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IVA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7668371"/>
                  </a:ext>
                </a:extLst>
              </a:tr>
              <a:tr h="201127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31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0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0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0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1920635"/>
                  </a:ext>
                </a:extLst>
              </a:tr>
              <a:tr h="229993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1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27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1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1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0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214426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2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21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02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i="0" u="none" strike="noStrike" cap="none" dirty="0">
                          <a:solidFill>
                            <a:srgbClr val="92D050"/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01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01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9168083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3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14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i="0" u="none" strike="noStrike" cap="none" dirty="0">
                          <a:solidFill>
                            <a:srgbClr val="92D050"/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02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0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02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5722193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4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7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1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1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1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6866011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5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6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3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2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1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6105467"/>
                  </a:ext>
                </a:extLst>
              </a:tr>
            </a:tbl>
          </a:graphicData>
        </a:graphic>
      </p:graphicFrame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D3C7A30D-9AE4-F273-2088-73EDFAA1B1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6584491"/>
              </p:ext>
            </p:extLst>
          </p:nvPr>
        </p:nvGraphicFramePr>
        <p:xfrm>
          <a:off x="6556476" y="639888"/>
          <a:ext cx="1976786" cy="1931862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382123">
                  <a:extLst>
                    <a:ext uri="{9D8B030D-6E8A-4147-A177-3AD203B41FA5}">
                      <a16:colId xmlns:a16="http://schemas.microsoft.com/office/drawing/2014/main" val="2413286585"/>
                    </a:ext>
                  </a:extLst>
                </a:gridCol>
                <a:gridCol w="407351">
                  <a:extLst>
                    <a:ext uri="{9D8B030D-6E8A-4147-A177-3AD203B41FA5}">
                      <a16:colId xmlns:a16="http://schemas.microsoft.com/office/drawing/2014/main" val="705427897"/>
                    </a:ext>
                  </a:extLst>
                </a:gridCol>
                <a:gridCol w="393896">
                  <a:extLst>
                    <a:ext uri="{9D8B030D-6E8A-4147-A177-3AD203B41FA5}">
                      <a16:colId xmlns:a16="http://schemas.microsoft.com/office/drawing/2014/main" val="136782701"/>
                    </a:ext>
                  </a:extLst>
                </a:gridCol>
                <a:gridCol w="402305">
                  <a:extLst>
                    <a:ext uri="{9D8B030D-6E8A-4147-A177-3AD203B41FA5}">
                      <a16:colId xmlns:a16="http://schemas.microsoft.com/office/drawing/2014/main" val="1331918043"/>
                    </a:ext>
                  </a:extLst>
                </a:gridCol>
                <a:gridCol w="391111">
                  <a:extLst>
                    <a:ext uri="{9D8B030D-6E8A-4147-A177-3AD203B41FA5}">
                      <a16:colId xmlns:a16="http://schemas.microsoft.com/office/drawing/2014/main" val="3110813919"/>
                    </a:ext>
                  </a:extLst>
                </a:gridCol>
              </a:tblGrid>
              <a:tr h="239082">
                <a:tc gridSpan="5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 dirty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E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992072"/>
                  </a:ext>
                </a:extLst>
              </a:tr>
              <a:tr h="239082">
                <a:tc gridSpan="5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Size = 50,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9170793"/>
                  </a:ext>
                </a:extLst>
              </a:tr>
              <a:tr h="239082"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6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R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P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IS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IVA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7668371"/>
                  </a:ext>
                </a:extLst>
              </a:tr>
              <a:tr h="201127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31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0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0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0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1920635"/>
                  </a:ext>
                </a:extLst>
              </a:tr>
              <a:tr h="229993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1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27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1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0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0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214426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2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20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01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i="0" u="none" strike="noStrike" cap="none" dirty="0">
                          <a:solidFill>
                            <a:srgbClr val="92D050"/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00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i="0" u="none" strike="noStrike" cap="none" dirty="0">
                          <a:solidFill>
                            <a:srgbClr val="92D050"/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00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9168083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3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3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1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1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01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5722193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4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7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2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01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1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6866011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5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5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1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1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1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6105467"/>
                  </a:ext>
                </a:extLst>
              </a:tr>
            </a:tbl>
          </a:graphicData>
        </a:graphic>
      </p:graphicFrame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B5D94C01-E62F-A87B-582C-F09431E4AA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4305025"/>
              </p:ext>
            </p:extLst>
          </p:nvPr>
        </p:nvGraphicFramePr>
        <p:xfrm>
          <a:off x="791466" y="2675027"/>
          <a:ext cx="1976787" cy="1931862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376174">
                  <a:extLst>
                    <a:ext uri="{9D8B030D-6E8A-4147-A177-3AD203B41FA5}">
                      <a16:colId xmlns:a16="http://schemas.microsoft.com/office/drawing/2014/main" val="2413286585"/>
                    </a:ext>
                  </a:extLst>
                </a:gridCol>
                <a:gridCol w="401010">
                  <a:extLst>
                    <a:ext uri="{9D8B030D-6E8A-4147-A177-3AD203B41FA5}">
                      <a16:colId xmlns:a16="http://schemas.microsoft.com/office/drawing/2014/main" val="705427897"/>
                    </a:ext>
                  </a:extLst>
                </a:gridCol>
                <a:gridCol w="387764">
                  <a:extLst>
                    <a:ext uri="{9D8B030D-6E8A-4147-A177-3AD203B41FA5}">
                      <a16:colId xmlns:a16="http://schemas.microsoft.com/office/drawing/2014/main" val="136782701"/>
                    </a:ext>
                  </a:extLst>
                </a:gridCol>
                <a:gridCol w="396042">
                  <a:extLst>
                    <a:ext uri="{9D8B030D-6E8A-4147-A177-3AD203B41FA5}">
                      <a16:colId xmlns:a16="http://schemas.microsoft.com/office/drawing/2014/main" val="1331918043"/>
                    </a:ext>
                  </a:extLst>
                </a:gridCol>
                <a:gridCol w="415797">
                  <a:extLst>
                    <a:ext uri="{9D8B030D-6E8A-4147-A177-3AD203B41FA5}">
                      <a16:colId xmlns:a16="http://schemas.microsoft.com/office/drawing/2014/main" val="3110813919"/>
                    </a:ext>
                  </a:extLst>
                </a:gridCol>
              </a:tblGrid>
              <a:tr h="239082">
                <a:tc gridSpan="5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 dirty="0">
                          <a:solidFill>
                            <a:schemeClr val="bg2"/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Log Lo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992072"/>
                  </a:ext>
                </a:extLst>
              </a:tr>
              <a:tr h="239082">
                <a:tc gridSpan="5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Size = 1,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9170793"/>
                  </a:ext>
                </a:extLst>
              </a:tr>
              <a:tr h="239082"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6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R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P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IS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IVA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7668371"/>
                  </a:ext>
                </a:extLst>
              </a:tr>
              <a:tr h="201127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59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7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27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7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1920635"/>
                  </a:ext>
                </a:extLst>
              </a:tr>
              <a:tr h="229993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1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60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27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28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28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214426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2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56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i="0" u="none" strike="noStrike" cap="none" dirty="0">
                          <a:solidFill>
                            <a:srgbClr val="92D050"/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39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40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40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9168083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3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57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49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72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49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5722193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4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55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53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63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52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6866011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5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58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56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56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56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6105467"/>
                  </a:ext>
                </a:extLst>
              </a:tr>
            </a:tbl>
          </a:graphicData>
        </a:graphic>
      </p:graphicFrame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17390465-8C7C-1ED0-A620-F64FBE8C70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7944235"/>
              </p:ext>
            </p:extLst>
          </p:nvPr>
        </p:nvGraphicFramePr>
        <p:xfrm>
          <a:off x="3583607" y="2675027"/>
          <a:ext cx="1976786" cy="1931862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382123">
                  <a:extLst>
                    <a:ext uri="{9D8B030D-6E8A-4147-A177-3AD203B41FA5}">
                      <a16:colId xmlns:a16="http://schemas.microsoft.com/office/drawing/2014/main" val="2413286585"/>
                    </a:ext>
                  </a:extLst>
                </a:gridCol>
                <a:gridCol w="407351">
                  <a:extLst>
                    <a:ext uri="{9D8B030D-6E8A-4147-A177-3AD203B41FA5}">
                      <a16:colId xmlns:a16="http://schemas.microsoft.com/office/drawing/2014/main" val="705427897"/>
                    </a:ext>
                  </a:extLst>
                </a:gridCol>
                <a:gridCol w="393896">
                  <a:extLst>
                    <a:ext uri="{9D8B030D-6E8A-4147-A177-3AD203B41FA5}">
                      <a16:colId xmlns:a16="http://schemas.microsoft.com/office/drawing/2014/main" val="136782701"/>
                    </a:ext>
                  </a:extLst>
                </a:gridCol>
                <a:gridCol w="402305">
                  <a:extLst>
                    <a:ext uri="{9D8B030D-6E8A-4147-A177-3AD203B41FA5}">
                      <a16:colId xmlns:a16="http://schemas.microsoft.com/office/drawing/2014/main" val="1331918043"/>
                    </a:ext>
                  </a:extLst>
                </a:gridCol>
                <a:gridCol w="391111">
                  <a:extLst>
                    <a:ext uri="{9D8B030D-6E8A-4147-A177-3AD203B41FA5}">
                      <a16:colId xmlns:a16="http://schemas.microsoft.com/office/drawing/2014/main" val="3110813919"/>
                    </a:ext>
                  </a:extLst>
                </a:gridCol>
              </a:tblGrid>
              <a:tr h="239082">
                <a:tc gridSpan="5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 dirty="0">
                          <a:solidFill>
                            <a:schemeClr val="bg2"/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Log Lo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992072"/>
                  </a:ext>
                </a:extLst>
              </a:tr>
              <a:tr h="239082">
                <a:tc gridSpan="5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Size = 10,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9170793"/>
                  </a:ext>
                </a:extLst>
              </a:tr>
              <a:tr h="239082"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6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R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P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IS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IVA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7668371"/>
                  </a:ext>
                </a:extLst>
              </a:tr>
              <a:tr h="201127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56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7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7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7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1920635"/>
                  </a:ext>
                </a:extLst>
              </a:tr>
              <a:tr h="229993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1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56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27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27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27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214426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2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56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39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39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39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9168083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3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55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47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49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47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5722193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4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57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54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54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54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6866011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5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56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55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55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55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6105467"/>
                  </a:ext>
                </a:extLst>
              </a:tr>
            </a:tbl>
          </a:graphicData>
        </a:graphic>
      </p:graphicFrame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0750177C-465D-46D9-CD83-B4B7E1C243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5091815"/>
              </p:ext>
            </p:extLst>
          </p:nvPr>
        </p:nvGraphicFramePr>
        <p:xfrm>
          <a:off x="6556474" y="2675027"/>
          <a:ext cx="1976788" cy="1931862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382123">
                  <a:extLst>
                    <a:ext uri="{9D8B030D-6E8A-4147-A177-3AD203B41FA5}">
                      <a16:colId xmlns:a16="http://schemas.microsoft.com/office/drawing/2014/main" val="2413286585"/>
                    </a:ext>
                  </a:extLst>
                </a:gridCol>
                <a:gridCol w="407352">
                  <a:extLst>
                    <a:ext uri="{9D8B030D-6E8A-4147-A177-3AD203B41FA5}">
                      <a16:colId xmlns:a16="http://schemas.microsoft.com/office/drawing/2014/main" val="705427897"/>
                    </a:ext>
                  </a:extLst>
                </a:gridCol>
                <a:gridCol w="393897">
                  <a:extLst>
                    <a:ext uri="{9D8B030D-6E8A-4147-A177-3AD203B41FA5}">
                      <a16:colId xmlns:a16="http://schemas.microsoft.com/office/drawing/2014/main" val="136782701"/>
                    </a:ext>
                  </a:extLst>
                </a:gridCol>
                <a:gridCol w="402305">
                  <a:extLst>
                    <a:ext uri="{9D8B030D-6E8A-4147-A177-3AD203B41FA5}">
                      <a16:colId xmlns:a16="http://schemas.microsoft.com/office/drawing/2014/main" val="1331918043"/>
                    </a:ext>
                  </a:extLst>
                </a:gridCol>
                <a:gridCol w="391111">
                  <a:extLst>
                    <a:ext uri="{9D8B030D-6E8A-4147-A177-3AD203B41FA5}">
                      <a16:colId xmlns:a16="http://schemas.microsoft.com/office/drawing/2014/main" val="3110813919"/>
                    </a:ext>
                  </a:extLst>
                </a:gridCol>
              </a:tblGrid>
              <a:tr h="239082">
                <a:tc gridSpan="5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 dirty="0">
                          <a:solidFill>
                            <a:schemeClr val="bg2"/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Log Lo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992072"/>
                  </a:ext>
                </a:extLst>
              </a:tr>
              <a:tr h="239082">
                <a:tc gridSpan="5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Size = 50,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9170793"/>
                  </a:ext>
                </a:extLst>
              </a:tr>
              <a:tr h="239082"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6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R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P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IS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IVA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7668371"/>
                  </a:ext>
                </a:extLst>
              </a:tr>
              <a:tr h="201127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56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7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7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7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1920635"/>
                  </a:ext>
                </a:extLst>
              </a:tr>
              <a:tr h="229993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1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55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26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26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26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214426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2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55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40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40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40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9168083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3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55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48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493</a:t>
                      </a:r>
                      <a:endParaRPr lang="en-US" sz="600" b="1" dirty="0">
                        <a:solidFill>
                          <a:srgbClr val="92D050"/>
                        </a:solidFill>
                        <a:latin typeface="Catamaran" panose="020B0604020202020204" charset="0"/>
                        <a:cs typeface="Catamaran" panose="020B060402020202020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48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5722193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4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55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53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53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53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6866011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5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55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55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55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55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61054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332847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9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/>
              <a:t>24</a:t>
            </a:fld>
            <a:endParaRPr/>
          </a:p>
        </p:txBody>
      </p:sp>
      <p:sp>
        <p:nvSpPr>
          <p:cNvPr id="90" name="Google Shape;90;p9"/>
          <p:cNvSpPr txBox="1">
            <a:spLocks noGrp="1"/>
          </p:cNvSpPr>
          <p:nvPr>
            <p:ph type="subTitle" idx="2"/>
          </p:nvPr>
        </p:nvSpPr>
        <p:spPr>
          <a:xfrm>
            <a:off x="1430034" y="4749851"/>
            <a:ext cx="6816757" cy="3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n-US" dirty="0"/>
              <a:t>Statistical Learning - </a:t>
            </a:r>
            <a:r>
              <a:rPr lang="en-US" sz="900" dirty="0"/>
              <a:t>The Importance of Being Calibrated: A Study on Probability Calibration and Interval Estimation for Binary Classification</a:t>
            </a:r>
          </a:p>
          <a:p>
            <a:pPr marL="0" lvl="0" indent="0" algn="l" rtl="0">
              <a:spcBef>
                <a:spcPts val="1600"/>
              </a:spcBef>
              <a:spcAft>
                <a:spcPts val="1600"/>
              </a:spcAft>
              <a:buNone/>
            </a:pPr>
            <a:endParaRPr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831E83C0-ED62-3E10-197C-103B14DEBA6B}"/>
              </a:ext>
            </a:extLst>
          </p:cNvPr>
          <p:cNvSpPr/>
          <p:nvPr/>
        </p:nvSpPr>
        <p:spPr>
          <a:xfrm>
            <a:off x="472339" y="58549"/>
            <a:ext cx="407676" cy="383512"/>
          </a:xfrm>
          <a:prstGeom prst="ellipse">
            <a:avLst/>
          </a:prstGeom>
          <a:solidFill>
            <a:srgbClr val="AD0505"/>
          </a:solidFill>
          <a:ln>
            <a:solidFill>
              <a:srgbClr val="AD050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Google Shape;70;p7">
            <a:extLst>
              <a:ext uri="{FF2B5EF4-FFF2-40B4-BE49-F238E27FC236}">
                <a16:creationId xmlns:a16="http://schemas.microsoft.com/office/drawing/2014/main" id="{CA6C6D59-9F64-7A20-D1E4-0F4F39A02480}"/>
              </a:ext>
            </a:extLst>
          </p:cNvPr>
          <p:cNvSpPr txBox="1">
            <a:spLocks/>
          </p:cNvSpPr>
          <p:nvPr/>
        </p:nvSpPr>
        <p:spPr>
          <a:xfrm>
            <a:off x="558092" y="58549"/>
            <a:ext cx="7688700" cy="53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Catamaran"/>
              <a:buNone/>
              <a:defRPr sz="2600" b="1" i="0" u="none" strike="noStrike" cap="none">
                <a:solidFill>
                  <a:schemeClr val="dk2"/>
                </a:solidFill>
                <a:latin typeface="Catamaran"/>
                <a:ea typeface="Catamaran"/>
                <a:cs typeface="Catamaran"/>
                <a:sym typeface="Catamara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r>
              <a:rPr lang="en-US" sz="1600" dirty="0"/>
              <a:t>Results on Simulated Data</a:t>
            </a:r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B4E5A3F3-4CFF-9829-96D5-39CC955BBC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5227981"/>
              </p:ext>
            </p:extLst>
          </p:nvPr>
        </p:nvGraphicFramePr>
        <p:xfrm>
          <a:off x="3583607" y="990617"/>
          <a:ext cx="1976786" cy="1931862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382123">
                  <a:extLst>
                    <a:ext uri="{9D8B030D-6E8A-4147-A177-3AD203B41FA5}">
                      <a16:colId xmlns:a16="http://schemas.microsoft.com/office/drawing/2014/main" val="2413286585"/>
                    </a:ext>
                  </a:extLst>
                </a:gridCol>
                <a:gridCol w="407351">
                  <a:extLst>
                    <a:ext uri="{9D8B030D-6E8A-4147-A177-3AD203B41FA5}">
                      <a16:colId xmlns:a16="http://schemas.microsoft.com/office/drawing/2014/main" val="705427897"/>
                    </a:ext>
                  </a:extLst>
                </a:gridCol>
                <a:gridCol w="393896">
                  <a:extLst>
                    <a:ext uri="{9D8B030D-6E8A-4147-A177-3AD203B41FA5}">
                      <a16:colId xmlns:a16="http://schemas.microsoft.com/office/drawing/2014/main" val="136782701"/>
                    </a:ext>
                  </a:extLst>
                </a:gridCol>
                <a:gridCol w="402305">
                  <a:extLst>
                    <a:ext uri="{9D8B030D-6E8A-4147-A177-3AD203B41FA5}">
                      <a16:colId xmlns:a16="http://schemas.microsoft.com/office/drawing/2014/main" val="1331918043"/>
                    </a:ext>
                  </a:extLst>
                </a:gridCol>
                <a:gridCol w="391111">
                  <a:extLst>
                    <a:ext uri="{9D8B030D-6E8A-4147-A177-3AD203B41FA5}">
                      <a16:colId xmlns:a16="http://schemas.microsoft.com/office/drawing/2014/main" val="3110813919"/>
                    </a:ext>
                  </a:extLst>
                </a:gridCol>
              </a:tblGrid>
              <a:tr h="239082">
                <a:tc gridSpan="5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 dirty="0">
                          <a:solidFill>
                            <a:srgbClr val="FFFF00"/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Brier Sco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992072"/>
                  </a:ext>
                </a:extLst>
              </a:tr>
              <a:tr h="239082">
                <a:tc gridSpan="5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Size = 10,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9170793"/>
                  </a:ext>
                </a:extLst>
              </a:tr>
              <a:tr h="239082"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6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R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P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IS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IVA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7668371"/>
                  </a:ext>
                </a:extLst>
              </a:tr>
              <a:tr h="201127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9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4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4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4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1920635"/>
                  </a:ext>
                </a:extLst>
              </a:tr>
              <a:tr h="229993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1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9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7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7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7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214426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2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90</a:t>
                      </a:r>
                      <a:endParaRPr lang="en-US" sz="600" b="1" dirty="0">
                        <a:solidFill>
                          <a:srgbClr val="92D050"/>
                        </a:solidFill>
                        <a:latin typeface="Catamaran" panose="020B0604020202020204" charset="0"/>
                        <a:cs typeface="Catamaran" panose="020B060402020202020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12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12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9168083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3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8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5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5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5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5722193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4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9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8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18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18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6866011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5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9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8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8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8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6105467"/>
                  </a:ext>
                </a:extLst>
              </a:tr>
            </a:tbl>
          </a:graphicData>
        </a:graphic>
      </p:graphicFrame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D3C7A30D-9AE4-F273-2088-73EDFAA1B1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4396708"/>
              </p:ext>
            </p:extLst>
          </p:nvPr>
        </p:nvGraphicFramePr>
        <p:xfrm>
          <a:off x="6559517" y="990617"/>
          <a:ext cx="1976785" cy="1931862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382122">
                  <a:extLst>
                    <a:ext uri="{9D8B030D-6E8A-4147-A177-3AD203B41FA5}">
                      <a16:colId xmlns:a16="http://schemas.microsoft.com/office/drawing/2014/main" val="2413286585"/>
                    </a:ext>
                  </a:extLst>
                </a:gridCol>
                <a:gridCol w="407351">
                  <a:extLst>
                    <a:ext uri="{9D8B030D-6E8A-4147-A177-3AD203B41FA5}">
                      <a16:colId xmlns:a16="http://schemas.microsoft.com/office/drawing/2014/main" val="705427897"/>
                    </a:ext>
                  </a:extLst>
                </a:gridCol>
                <a:gridCol w="393896">
                  <a:extLst>
                    <a:ext uri="{9D8B030D-6E8A-4147-A177-3AD203B41FA5}">
                      <a16:colId xmlns:a16="http://schemas.microsoft.com/office/drawing/2014/main" val="136782701"/>
                    </a:ext>
                  </a:extLst>
                </a:gridCol>
                <a:gridCol w="402305">
                  <a:extLst>
                    <a:ext uri="{9D8B030D-6E8A-4147-A177-3AD203B41FA5}">
                      <a16:colId xmlns:a16="http://schemas.microsoft.com/office/drawing/2014/main" val="1331918043"/>
                    </a:ext>
                  </a:extLst>
                </a:gridCol>
                <a:gridCol w="391111">
                  <a:extLst>
                    <a:ext uri="{9D8B030D-6E8A-4147-A177-3AD203B41FA5}">
                      <a16:colId xmlns:a16="http://schemas.microsoft.com/office/drawing/2014/main" val="3110813919"/>
                    </a:ext>
                  </a:extLst>
                </a:gridCol>
              </a:tblGrid>
              <a:tr h="239082">
                <a:tc gridSpan="5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 dirty="0">
                          <a:solidFill>
                            <a:srgbClr val="FFFF00"/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Brier Sco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992072"/>
                  </a:ext>
                </a:extLst>
              </a:tr>
              <a:tr h="239082">
                <a:tc gridSpan="5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Size = 50,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9170793"/>
                  </a:ext>
                </a:extLst>
              </a:tr>
              <a:tr h="239082"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6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R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P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IS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IVA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7668371"/>
                  </a:ext>
                </a:extLst>
              </a:tr>
              <a:tr h="201127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9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4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4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4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1920635"/>
                  </a:ext>
                </a:extLst>
              </a:tr>
              <a:tr h="229993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1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8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7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7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7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214426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2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88</a:t>
                      </a:r>
                      <a:endParaRPr lang="en-US" sz="600" b="1" dirty="0">
                        <a:solidFill>
                          <a:srgbClr val="92D050"/>
                        </a:solidFill>
                        <a:latin typeface="Catamaran" panose="020B0604020202020204" charset="0"/>
                        <a:cs typeface="Catamaran" panose="020B060402020202020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2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2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2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9168083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3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8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6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6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6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5722193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4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8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7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7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7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6866011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5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8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8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8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8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6105467"/>
                  </a:ext>
                </a:extLst>
              </a:tr>
            </a:tbl>
          </a:graphicData>
        </a:graphic>
      </p:graphicFrame>
      <p:graphicFrame>
        <p:nvGraphicFramePr>
          <p:cNvPr id="2" name="Table 11">
            <a:extLst>
              <a:ext uri="{FF2B5EF4-FFF2-40B4-BE49-F238E27FC236}">
                <a16:creationId xmlns:a16="http://schemas.microsoft.com/office/drawing/2014/main" id="{89F500EC-86B4-62EA-C5FC-A78A15D591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9340084"/>
              </p:ext>
            </p:extLst>
          </p:nvPr>
        </p:nvGraphicFramePr>
        <p:xfrm>
          <a:off x="759243" y="990617"/>
          <a:ext cx="1976786" cy="1931862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382123">
                  <a:extLst>
                    <a:ext uri="{9D8B030D-6E8A-4147-A177-3AD203B41FA5}">
                      <a16:colId xmlns:a16="http://schemas.microsoft.com/office/drawing/2014/main" val="2413286585"/>
                    </a:ext>
                  </a:extLst>
                </a:gridCol>
                <a:gridCol w="407351">
                  <a:extLst>
                    <a:ext uri="{9D8B030D-6E8A-4147-A177-3AD203B41FA5}">
                      <a16:colId xmlns:a16="http://schemas.microsoft.com/office/drawing/2014/main" val="705427897"/>
                    </a:ext>
                  </a:extLst>
                </a:gridCol>
                <a:gridCol w="393896">
                  <a:extLst>
                    <a:ext uri="{9D8B030D-6E8A-4147-A177-3AD203B41FA5}">
                      <a16:colId xmlns:a16="http://schemas.microsoft.com/office/drawing/2014/main" val="136782701"/>
                    </a:ext>
                  </a:extLst>
                </a:gridCol>
                <a:gridCol w="402305">
                  <a:extLst>
                    <a:ext uri="{9D8B030D-6E8A-4147-A177-3AD203B41FA5}">
                      <a16:colId xmlns:a16="http://schemas.microsoft.com/office/drawing/2014/main" val="1331918043"/>
                    </a:ext>
                  </a:extLst>
                </a:gridCol>
                <a:gridCol w="391111">
                  <a:extLst>
                    <a:ext uri="{9D8B030D-6E8A-4147-A177-3AD203B41FA5}">
                      <a16:colId xmlns:a16="http://schemas.microsoft.com/office/drawing/2014/main" val="3110813919"/>
                    </a:ext>
                  </a:extLst>
                </a:gridCol>
              </a:tblGrid>
              <a:tr h="239082">
                <a:tc gridSpan="5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 dirty="0">
                          <a:solidFill>
                            <a:srgbClr val="FFFF00"/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Brier Sco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992072"/>
                  </a:ext>
                </a:extLst>
              </a:tr>
              <a:tr h="239082">
                <a:tc gridSpan="5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Size = 1,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8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9170793"/>
                  </a:ext>
                </a:extLst>
              </a:tr>
              <a:tr h="239082"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600" b="1" i="0" u="none" strike="noStrike" cap="none" dirty="0">
                        <a:solidFill>
                          <a:schemeClr val="bg1">
                            <a:lumMod val="95000"/>
                          </a:schemeClr>
                        </a:solidFill>
                        <a:latin typeface="Catamaran" panose="020B0604020202020204" charset="0"/>
                        <a:ea typeface="+mn-ea"/>
                        <a:cs typeface="Catamaran" panose="020B060402020202020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R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P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IS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6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IVA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7668371"/>
                  </a:ext>
                </a:extLst>
              </a:tr>
              <a:tr h="201127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9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4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4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4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1920635"/>
                  </a:ext>
                </a:extLst>
              </a:tr>
              <a:tr h="229993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1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20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7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8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8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214426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2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19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600" b="1" i="0" u="none" strike="noStrike" cap="none" dirty="0">
                          <a:solidFill>
                            <a:srgbClr val="92D050"/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1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12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12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9168083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3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9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6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16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6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5722193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4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8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7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7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7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6866011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5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9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9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i="0" u="none" strike="noStrike" cap="none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0.19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1" dirty="0">
                          <a:solidFill>
                            <a:srgbClr val="92D050"/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19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6105467"/>
                  </a:ext>
                </a:extLst>
              </a:tr>
            </a:tbl>
          </a:graphicData>
        </a:graphic>
      </p:graphicFrame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5486D83-8073-9185-276B-7353BF05AF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71939" y="3212995"/>
            <a:ext cx="4600122" cy="1246339"/>
          </a:xfrm>
          <a:ln>
            <a:solidFill>
              <a:srgbClr val="C00000"/>
            </a:solidFill>
          </a:ln>
        </p:spPr>
        <p:txBody>
          <a:bodyPr/>
          <a:lstStyle/>
          <a:p>
            <a:endParaRPr lang="en-US" sz="1100" b="1" dirty="0"/>
          </a:p>
          <a:p>
            <a:endParaRPr lang="en-US" sz="1100" b="1" dirty="0"/>
          </a:p>
          <a:p>
            <a:r>
              <a:rPr lang="en-US" sz="1100" i="1" dirty="0"/>
              <a:t>Platt’s Scaling</a:t>
            </a:r>
            <a:r>
              <a:rPr lang="en-US" sz="1100" dirty="0"/>
              <a:t>:</a:t>
            </a:r>
            <a:r>
              <a:rPr lang="en-US" sz="1400" dirty="0"/>
              <a:t> </a:t>
            </a:r>
            <a:r>
              <a:rPr lang="en-US" sz="1000" dirty="0"/>
              <a:t>ECE – </a:t>
            </a:r>
            <a:r>
              <a:rPr lang="en-US" sz="1000" b="1" dirty="0"/>
              <a:t>4/18</a:t>
            </a:r>
            <a:r>
              <a:rPr lang="en-US" sz="1000" dirty="0"/>
              <a:t>; Log Loss - </a:t>
            </a:r>
            <a:r>
              <a:rPr lang="en-US" sz="1000" b="1" dirty="0"/>
              <a:t>9/18</a:t>
            </a:r>
            <a:r>
              <a:rPr lang="en-US" sz="1000" dirty="0"/>
              <a:t>; Brier Score – </a:t>
            </a:r>
            <a:r>
              <a:rPr lang="en-US" sz="1000" b="1" dirty="0"/>
              <a:t>13/18</a:t>
            </a:r>
            <a:r>
              <a:rPr lang="en-US" sz="1000" dirty="0"/>
              <a:t>;</a:t>
            </a:r>
          </a:p>
          <a:p>
            <a:r>
              <a:rPr lang="en-US" sz="1100" i="1" dirty="0"/>
              <a:t>Isotonic Regression</a:t>
            </a:r>
            <a:r>
              <a:rPr lang="en-US" sz="1100" dirty="0"/>
              <a:t>: </a:t>
            </a:r>
            <a:r>
              <a:rPr lang="en-US" sz="1000" dirty="0"/>
              <a:t>ECE – </a:t>
            </a:r>
            <a:r>
              <a:rPr lang="en-US" sz="1000" b="1" dirty="0"/>
              <a:t>12/18</a:t>
            </a:r>
            <a:r>
              <a:rPr lang="en-US" sz="1000" dirty="0"/>
              <a:t>; Log Loss – </a:t>
            </a:r>
            <a:r>
              <a:rPr lang="en-US" sz="1000" b="1" dirty="0"/>
              <a:t>6/18</a:t>
            </a:r>
            <a:r>
              <a:rPr lang="en-US" sz="1000" dirty="0"/>
              <a:t>; Brier Score – </a:t>
            </a:r>
            <a:r>
              <a:rPr lang="en-US" sz="1000" b="1" dirty="0"/>
              <a:t>11/18</a:t>
            </a:r>
            <a:r>
              <a:rPr lang="en-US" sz="1000" dirty="0"/>
              <a:t>;</a:t>
            </a:r>
          </a:p>
          <a:p>
            <a:r>
              <a:rPr lang="en-US" sz="1100" i="1" dirty="0"/>
              <a:t>Inductive Venn-</a:t>
            </a:r>
            <a:r>
              <a:rPr lang="en-US" sz="1100" i="1" dirty="0" err="1"/>
              <a:t>Abers</a:t>
            </a:r>
            <a:r>
              <a:rPr lang="en-US" sz="1100" b="1" dirty="0"/>
              <a:t>: </a:t>
            </a:r>
            <a:r>
              <a:rPr lang="en-US" sz="1000" dirty="0"/>
              <a:t>ECE – </a:t>
            </a:r>
            <a:r>
              <a:rPr lang="en-US" sz="1000" b="1" dirty="0"/>
              <a:t>12/18</a:t>
            </a:r>
            <a:r>
              <a:rPr lang="en-US" sz="1000" dirty="0"/>
              <a:t>; Log Loss – </a:t>
            </a:r>
            <a:r>
              <a:rPr lang="en-US" sz="1000" b="1" dirty="0"/>
              <a:t>13/18</a:t>
            </a:r>
            <a:r>
              <a:rPr lang="en-US" sz="1000" dirty="0"/>
              <a:t>; Brier Score – </a:t>
            </a:r>
            <a:r>
              <a:rPr lang="en-US" sz="1000" b="1" dirty="0"/>
              <a:t>13/18</a:t>
            </a:r>
            <a:r>
              <a:rPr lang="en-US" sz="1000" dirty="0"/>
              <a:t>; </a:t>
            </a:r>
            <a:endParaRPr lang="en-US" sz="1100" b="1" dirty="0"/>
          </a:p>
        </p:txBody>
      </p:sp>
      <p:sp>
        <p:nvSpPr>
          <p:cNvPr id="6" name="Google Shape;73;p7">
            <a:extLst>
              <a:ext uri="{FF2B5EF4-FFF2-40B4-BE49-F238E27FC236}">
                <a16:creationId xmlns:a16="http://schemas.microsoft.com/office/drawing/2014/main" id="{0E96D0F6-F0A2-2EE3-2393-A4670439F0F7}"/>
              </a:ext>
            </a:extLst>
          </p:cNvPr>
          <p:cNvSpPr txBox="1"/>
          <p:nvPr/>
        </p:nvSpPr>
        <p:spPr>
          <a:xfrm>
            <a:off x="3579312" y="3307645"/>
            <a:ext cx="1985375" cy="31164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 algn="ctr" rtl="0">
              <a:spcBef>
                <a:spcPts val="0"/>
              </a:spcBef>
              <a:spcAft>
                <a:spcPts val="0"/>
              </a:spcAft>
            </a:pPr>
            <a:r>
              <a:rPr lang="en-US" sz="1100" b="1" dirty="0">
                <a:solidFill>
                  <a:schemeClr val="bg1">
                    <a:lumMod val="95000"/>
                  </a:schemeClr>
                </a:solidFill>
                <a:latin typeface="Catamaran"/>
                <a:ea typeface="Catamaran"/>
                <a:cs typeface="Catamaran"/>
                <a:sym typeface="Catamaran"/>
              </a:rPr>
              <a:t>Overall Performance </a:t>
            </a:r>
            <a:endParaRPr lang="en-US" sz="1100" b="1" i="1" dirty="0">
              <a:solidFill>
                <a:schemeClr val="bg1">
                  <a:lumMod val="95000"/>
                </a:schemeClr>
              </a:solidFill>
              <a:latin typeface="Catamaran"/>
              <a:ea typeface="Catamaran"/>
              <a:cs typeface="Catamaran"/>
              <a:sym typeface="Catamaran"/>
            </a:endParaRPr>
          </a:p>
        </p:txBody>
      </p:sp>
    </p:spTree>
    <p:extLst>
      <p:ext uri="{BB962C8B-B14F-4D97-AF65-F5344CB8AC3E}">
        <p14:creationId xmlns:p14="http://schemas.microsoft.com/office/powerpoint/2010/main" val="173814449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7"/>
          <p:cNvSpPr txBox="1">
            <a:spLocks noGrp="1"/>
          </p:cNvSpPr>
          <p:nvPr>
            <p:ph type="title"/>
          </p:nvPr>
        </p:nvSpPr>
        <p:spPr>
          <a:xfrm>
            <a:off x="836507" y="2036550"/>
            <a:ext cx="2632407" cy="53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it" dirty="0"/>
              <a:t>Agenda</a:t>
            </a:r>
            <a:endParaRPr dirty="0"/>
          </a:p>
        </p:txBody>
      </p:sp>
      <p:sp>
        <p:nvSpPr>
          <p:cNvPr id="71" name="Google Shape;71;p7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/>
              <a:t>25</a:t>
            </a:fld>
            <a:endParaRPr/>
          </a:p>
        </p:txBody>
      </p:sp>
      <p:sp>
        <p:nvSpPr>
          <p:cNvPr id="72" name="Google Shape;72;p7"/>
          <p:cNvSpPr txBox="1">
            <a:spLocks noGrp="1"/>
          </p:cNvSpPr>
          <p:nvPr>
            <p:ph type="subTitle" idx="2"/>
          </p:nvPr>
        </p:nvSpPr>
        <p:spPr>
          <a:xfrm>
            <a:off x="1419923" y="4803323"/>
            <a:ext cx="7001550" cy="36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it" dirty="0"/>
              <a:t>Statistical Learning - </a:t>
            </a:r>
            <a:r>
              <a:rPr lang="en-US" sz="900" dirty="0"/>
              <a:t>The Importance of Being Calibrated: A Study on Probability Calibration and Interval Estimation for Binary Classification</a:t>
            </a:r>
            <a:endParaRPr sz="900" dirty="0"/>
          </a:p>
        </p:txBody>
      </p:sp>
      <p:pic>
        <p:nvPicPr>
          <p:cNvPr id="3" name="Picture 2" descr="A credit score gauge with a needle and a needle&#10;&#10;Description automatically generated with medium confidence">
            <a:extLst>
              <a:ext uri="{FF2B5EF4-FFF2-40B4-BE49-F238E27FC236}">
                <a16:creationId xmlns:a16="http://schemas.microsoft.com/office/drawing/2014/main" id="{9FCF091F-D737-673B-5DF8-C50E86D44B9B}"/>
              </a:ext>
            </a:extLst>
          </p:cNvPr>
          <p:cNvPicPr>
            <a:picLocks noChangeAspect="1"/>
          </p:cNvPicPr>
          <p:nvPr/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030" y="1838522"/>
            <a:ext cx="3875320" cy="217855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8C92F66-DD98-00C1-7C0B-03704970C3A5}"/>
              </a:ext>
            </a:extLst>
          </p:cNvPr>
          <p:cNvSpPr/>
          <p:nvPr/>
        </p:nvSpPr>
        <p:spPr>
          <a:xfrm>
            <a:off x="4215460" y="495937"/>
            <a:ext cx="4869542" cy="4307386"/>
          </a:xfrm>
          <a:prstGeom prst="rect">
            <a:avLst/>
          </a:prstGeom>
          <a:solidFill>
            <a:schemeClr val="bg2">
              <a:lumMod val="50000"/>
              <a:lumOff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A9F4115F-1744-27F1-D226-BAC0AD24BF02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4528427" y="888657"/>
            <a:ext cx="4383753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Introduction &amp; Motivation: Can We Trust a Model's Confidence?</a:t>
            </a:r>
            <a:endParaRPr lang="en-US" sz="1200" b="1" dirty="0">
              <a:solidFill>
                <a:schemeClr val="tx2"/>
              </a:solidFill>
              <a:latin typeface="Catamaran" panose="020B0604020202020204" charset="0"/>
              <a:cs typeface="Catamaran" panose="020B0604020202020204" charset="0"/>
            </a:endParaRPr>
          </a:p>
        </p:txBody>
      </p:sp>
      <p:sp>
        <p:nvSpPr>
          <p:cNvPr id="9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5F05BD8C-75CB-F6C3-0243-14FC44DD4137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4528427" y="1251873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Accuracy is Not Enough: Discrimination vs. Calibration</a:t>
            </a:r>
          </a:p>
        </p:txBody>
      </p:sp>
      <p:sp>
        <p:nvSpPr>
          <p:cNvPr id="10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123AAC5C-157B-3B55-1942-784B8E41094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4541030" y="1576677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Calibration Methods: Platt, Isotonic, and Venn-</a:t>
            </a:r>
            <a:r>
              <a:rPr lang="en-US" sz="1200" b="1" dirty="0" err="1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Abers</a:t>
            </a:r>
            <a:endParaRPr lang="en-US" sz="1200" b="1" dirty="0">
              <a:solidFill>
                <a:schemeClr val="tx2"/>
              </a:solidFill>
              <a:latin typeface="Catamaran" panose="020B0604020202020204" charset="0"/>
              <a:cs typeface="Catamaran" panose="020B0604020202020204" charset="0"/>
            </a:endParaRPr>
          </a:p>
        </p:txBody>
      </p:sp>
      <p:sp>
        <p:nvSpPr>
          <p:cNvPr id="11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B1D71953-C189-D7AC-2058-78E041D15A4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541030" y="1895304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Our Dataset &amp; Experimental Setup</a:t>
            </a:r>
          </a:p>
        </p:txBody>
      </p:sp>
      <p:sp>
        <p:nvSpPr>
          <p:cNvPr id="2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B9483475-6B13-5D88-E5DA-364A402874D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541030" y="2195584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Credit Risk Data Preparation</a:t>
            </a:r>
          </a:p>
        </p:txBody>
      </p:sp>
      <p:sp>
        <p:nvSpPr>
          <p:cNvPr id="5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4D24E2A4-6D94-D815-011C-BAA1A62F5CE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571999" y="2549209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Results on Credit Risk Data: Accuracy vs. Calibration</a:t>
            </a:r>
          </a:p>
        </p:txBody>
      </p:sp>
      <p:sp>
        <p:nvSpPr>
          <p:cNvPr id="6" name="Text Placeholder 4">
            <a:hlinkClick r:id="rId16" action="ppaction://hlinksldjump"/>
            <a:extLst>
              <a:ext uri="{FF2B5EF4-FFF2-40B4-BE49-F238E27FC236}">
                <a16:creationId xmlns:a16="http://schemas.microsoft.com/office/drawing/2014/main" id="{C2B4952A-8A57-D05F-3B50-2CEFE72A6D9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571999" y="2867988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Simulated Data Generation</a:t>
            </a:r>
          </a:p>
        </p:txBody>
      </p:sp>
      <p:sp>
        <p:nvSpPr>
          <p:cNvPr id="7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EA41B23B-5539-B73B-D142-61DFF193CB5C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571999" y="3203114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Results on Simulated Data</a:t>
            </a:r>
          </a:p>
        </p:txBody>
      </p:sp>
      <p:sp>
        <p:nvSpPr>
          <p:cNvPr id="12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325B2701-BD25-5A24-828A-83B799D3CA3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571999" y="3523363"/>
            <a:ext cx="3771900" cy="342900"/>
          </a:xfrm>
          <a:prstGeom prst="rect">
            <a:avLst/>
          </a:prstGeom>
          <a:solidFill>
            <a:srgbClr val="AD0505"/>
          </a:solidFill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1200" b="1" kern="1200" dirty="0">
                <a:solidFill>
                  <a:schemeClr val="bg1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Probability Intervals</a:t>
            </a:r>
          </a:p>
        </p:txBody>
      </p:sp>
      <p:sp>
        <p:nvSpPr>
          <p:cNvPr id="13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F01DA9CA-794C-F524-1E5D-32A8A79BE53E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571999" y="4111396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References</a:t>
            </a:r>
          </a:p>
        </p:txBody>
      </p:sp>
      <p:sp>
        <p:nvSpPr>
          <p:cNvPr id="14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22F063E4-4560-D8D6-F089-D6DE28E564A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571999" y="3824320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Conclusion &amp; Key Takeaways</a:t>
            </a:r>
          </a:p>
        </p:txBody>
      </p:sp>
    </p:spTree>
    <p:extLst>
      <p:ext uri="{BB962C8B-B14F-4D97-AF65-F5344CB8AC3E}">
        <p14:creationId xmlns:p14="http://schemas.microsoft.com/office/powerpoint/2010/main" val="110864388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9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/>
              <a:t>26</a:t>
            </a:fld>
            <a:endParaRPr/>
          </a:p>
        </p:txBody>
      </p:sp>
      <p:sp>
        <p:nvSpPr>
          <p:cNvPr id="90" name="Google Shape;90;p9"/>
          <p:cNvSpPr txBox="1">
            <a:spLocks noGrp="1"/>
          </p:cNvSpPr>
          <p:nvPr>
            <p:ph type="subTitle" idx="2"/>
          </p:nvPr>
        </p:nvSpPr>
        <p:spPr>
          <a:xfrm>
            <a:off x="1386194" y="4861391"/>
            <a:ext cx="7150108" cy="3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n-US" dirty="0"/>
              <a:t>Statistical Learning - </a:t>
            </a:r>
            <a:r>
              <a:rPr lang="en-US" sz="900" dirty="0"/>
              <a:t>The Importance of Being Calibrated: A Study on Probability Calibration and Interval Estimation for Binary Classification</a:t>
            </a:r>
          </a:p>
          <a:p>
            <a:pPr marL="0" lvl="0" indent="0" algn="l" rtl="0">
              <a:spcBef>
                <a:spcPts val="1600"/>
              </a:spcBef>
              <a:spcAft>
                <a:spcPts val="1600"/>
              </a:spcAft>
              <a:buNone/>
            </a:pPr>
            <a:endParaRPr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547F4455-B149-2549-D6BA-B4497910C413}"/>
              </a:ext>
            </a:extLst>
          </p:cNvPr>
          <p:cNvSpPr/>
          <p:nvPr/>
        </p:nvSpPr>
        <p:spPr>
          <a:xfrm>
            <a:off x="472339" y="58549"/>
            <a:ext cx="407676" cy="383512"/>
          </a:xfrm>
          <a:prstGeom prst="ellipse">
            <a:avLst/>
          </a:prstGeom>
          <a:solidFill>
            <a:srgbClr val="AD0505"/>
          </a:solidFill>
          <a:ln>
            <a:solidFill>
              <a:srgbClr val="AD050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Google Shape;70;p7">
            <a:extLst>
              <a:ext uri="{FF2B5EF4-FFF2-40B4-BE49-F238E27FC236}">
                <a16:creationId xmlns:a16="http://schemas.microsoft.com/office/drawing/2014/main" id="{FC118A04-42AA-57DF-FACD-8149C0ED2A1F}"/>
              </a:ext>
            </a:extLst>
          </p:cNvPr>
          <p:cNvSpPr txBox="1">
            <a:spLocks/>
          </p:cNvSpPr>
          <p:nvPr/>
        </p:nvSpPr>
        <p:spPr>
          <a:xfrm>
            <a:off x="558092" y="58549"/>
            <a:ext cx="7688700" cy="53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Catamaran"/>
              <a:buNone/>
              <a:defRPr sz="2600" b="1" i="0" u="none" strike="noStrike" cap="none">
                <a:solidFill>
                  <a:schemeClr val="dk2"/>
                </a:solidFill>
                <a:latin typeface="Catamaran"/>
                <a:ea typeface="Catamaran"/>
                <a:cs typeface="Catamaran"/>
                <a:sym typeface="Catamara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r>
              <a:rPr lang="en-US" sz="1600" dirty="0"/>
              <a:t>Probability Intervals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09FC23F7-F321-2263-2230-5EC3A74CF2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1519632"/>
              </p:ext>
            </p:extLst>
          </p:nvPr>
        </p:nvGraphicFramePr>
        <p:xfrm>
          <a:off x="472339" y="1673107"/>
          <a:ext cx="3698757" cy="1749235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1205230">
                  <a:extLst>
                    <a:ext uri="{9D8B030D-6E8A-4147-A177-3AD203B41FA5}">
                      <a16:colId xmlns:a16="http://schemas.microsoft.com/office/drawing/2014/main" val="2413286585"/>
                    </a:ext>
                  </a:extLst>
                </a:gridCol>
                <a:gridCol w="925830">
                  <a:extLst>
                    <a:ext uri="{9D8B030D-6E8A-4147-A177-3AD203B41FA5}">
                      <a16:colId xmlns:a16="http://schemas.microsoft.com/office/drawing/2014/main" val="705427897"/>
                    </a:ext>
                  </a:extLst>
                </a:gridCol>
                <a:gridCol w="1567697">
                  <a:extLst>
                    <a:ext uri="{9D8B030D-6E8A-4147-A177-3AD203B41FA5}">
                      <a16:colId xmlns:a16="http://schemas.microsoft.com/office/drawing/2014/main" val="136782701"/>
                    </a:ext>
                  </a:extLst>
                </a:gridCol>
              </a:tblGrid>
              <a:tr h="239082"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Mode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Metho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800" b="1" i="0" u="none" strike="noStrike" cap="none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tamaran" panose="020B0604020202020204" charset="0"/>
                          <a:ea typeface="+mn-ea"/>
                          <a:cs typeface="Catamaran" panose="020B0604020202020204" charset="0"/>
                          <a:sym typeface="Arial"/>
                        </a:rPr>
                        <a:t>Average Interval Widt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050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7668371"/>
                  </a:ext>
                </a:extLst>
              </a:tr>
              <a:tr h="201127">
                <a:tc>
                  <a:txBody>
                    <a:bodyPr/>
                    <a:lstStyle/>
                    <a:p>
                      <a:pPr algn="ctr"/>
                      <a:r>
                        <a:rPr lang="en-US" sz="800" dirty="0" err="1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XGBoost</a:t>
                      </a:r>
                      <a:r>
                        <a:rPr lang="en-US" sz="80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IVA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06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1920635"/>
                  </a:ext>
                </a:extLst>
              </a:tr>
              <a:tr h="229993">
                <a:tc>
                  <a:txBody>
                    <a:bodyPr/>
                    <a:lstStyle/>
                    <a:p>
                      <a:pPr algn="ctr"/>
                      <a:r>
                        <a:rPr lang="en-US" sz="800" dirty="0" err="1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XGBoost</a:t>
                      </a:r>
                      <a:endParaRPr lang="en-US" sz="800" dirty="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latin typeface="Catamaran" panose="020B0604020202020204" charset="0"/>
                        <a:cs typeface="Catamaran" panose="020B060402020202020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CVAP (Mean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06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214426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Logistic Re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IVA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08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9168083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Logistic Re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CVAP (Mean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08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0282447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dirty="0" err="1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XGBoost</a:t>
                      </a:r>
                      <a:endParaRPr lang="en-US" sz="800" dirty="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latin typeface="Catamaran" panose="020B0604020202020204" charset="0"/>
                        <a:cs typeface="Catamaran" panose="020B060402020202020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CVAP (Min, Max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33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3241923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Logistic Re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CVAP (Min, Max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51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8487916"/>
                  </a:ext>
                </a:extLst>
              </a:tr>
              <a:tr h="19587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Logistic Reg (Bootstrap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(2.5%, 97.5%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atamaran" panose="020B0604020202020204" charset="0"/>
                          <a:cs typeface="Catamaran" panose="020B0604020202020204" charset="0"/>
                        </a:rPr>
                        <a:t>0.062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3807143"/>
                  </a:ext>
                </a:extLst>
              </a:tr>
            </a:tbl>
          </a:graphicData>
        </a:graphic>
      </p:graphicFrame>
      <p:pic>
        <p:nvPicPr>
          <p:cNvPr id="20" name="Picture 19">
            <a:extLst>
              <a:ext uri="{FF2B5EF4-FFF2-40B4-BE49-F238E27FC236}">
                <a16:creationId xmlns:a16="http://schemas.microsoft.com/office/drawing/2014/main" id="{2103705E-F200-CA84-EB89-5DA95B9056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57671" y="613420"/>
            <a:ext cx="3478631" cy="203253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CEA53FCF-5EB0-9BFD-A1DB-2730C0A9743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57672" y="2775398"/>
            <a:ext cx="3478636" cy="2105664"/>
          </a:xfrm>
          <a:prstGeom prst="rect">
            <a:avLst/>
          </a:prstGeom>
        </p:spPr>
      </p:pic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7C499F6-4D07-F8C4-2D4C-8FBC6B89AB10}"/>
              </a:ext>
            </a:extLst>
          </p:cNvPr>
          <p:cNvCxnSpPr>
            <a:cxnSpLocks/>
          </p:cNvCxnSpPr>
          <p:nvPr/>
        </p:nvCxnSpPr>
        <p:spPr>
          <a:xfrm>
            <a:off x="4473383" y="871775"/>
            <a:ext cx="0" cy="3638132"/>
          </a:xfrm>
          <a:prstGeom prst="line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709140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7"/>
          <p:cNvSpPr txBox="1">
            <a:spLocks noGrp="1"/>
          </p:cNvSpPr>
          <p:nvPr>
            <p:ph type="title"/>
          </p:nvPr>
        </p:nvSpPr>
        <p:spPr>
          <a:xfrm>
            <a:off x="836507" y="2036550"/>
            <a:ext cx="2632407" cy="53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it" dirty="0"/>
              <a:t>Agenda</a:t>
            </a:r>
            <a:endParaRPr dirty="0"/>
          </a:p>
        </p:txBody>
      </p:sp>
      <p:sp>
        <p:nvSpPr>
          <p:cNvPr id="71" name="Google Shape;71;p7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/>
              <a:t>27</a:t>
            </a:fld>
            <a:endParaRPr/>
          </a:p>
        </p:txBody>
      </p:sp>
      <p:sp>
        <p:nvSpPr>
          <p:cNvPr id="72" name="Google Shape;72;p7"/>
          <p:cNvSpPr txBox="1">
            <a:spLocks noGrp="1"/>
          </p:cNvSpPr>
          <p:nvPr>
            <p:ph type="subTitle" idx="2"/>
          </p:nvPr>
        </p:nvSpPr>
        <p:spPr>
          <a:xfrm>
            <a:off x="1414800" y="4811216"/>
            <a:ext cx="7001550" cy="36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it" dirty="0"/>
              <a:t>Statistical Learning - </a:t>
            </a:r>
            <a:r>
              <a:rPr lang="en-US" sz="900" dirty="0"/>
              <a:t>The Importance of Being Calibrated: A Study on Probability Calibration and Interval Estimation for Binary Classification</a:t>
            </a:r>
            <a:endParaRPr sz="900" dirty="0"/>
          </a:p>
        </p:txBody>
      </p:sp>
      <p:pic>
        <p:nvPicPr>
          <p:cNvPr id="3" name="Picture 2" descr="A credit score gauge with a needle and a needle&#10;&#10;Description automatically generated with medium confidence">
            <a:extLst>
              <a:ext uri="{FF2B5EF4-FFF2-40B4-BE49-F238E27FC236}">
                <a16:creationId xmlns:a16="http://schemas.microsoft.com/office/drawing/2014/main" id="{9FCF091F-D737-673B-5DF8-C50E86D44B9B}"/>
              </a:ext>
            </a:extLst>
          </p:cNvPr>
          <p:cNvPicPr>
            <a:picLocks noChangeAspect="1"/>
          </p:cNvPicPr>
          <p:nvPr/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030" y="1838522"/>
            <a:ext cx="3875320" cy="217855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8C92F66-DD98-00C1-7C0B-03704970C3A5}"/>
              </a:ext>
            </a:extLst>
          </p:cNvPr>
          <p:cNvSpPr/>
          <p:nvPr/>
        </p:nvSpPr>
        <p:spPr>
          <a:xfrm>
            <a:off x="4215460" y="501992"/>
            <a:ext cx="4869542" cy="4307386"/>
          </a:xfrm>
          <a:prstGeom prst="rect">
            <a:avLst/>
          </a:prstGeom>
          <a:solidFill>
            <a:schemeClr val="bg2">
              <a:lumMod val="50000"/>
              <a:lumOff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A9F4115F-1744-27F1-D226-BAC0AD24BF02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4528427" y="888657"/>
            <a:ext cx="4383753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Introduction &amp; Motivation: Can We Trust a Model's Confidence?</a:t>
            </a:r>
            <a:endParaRPr lang="en-US" sz="1200" b="1" dirty="0">
              <a:solidFill>
                <a:schemeClr val="tx2"/>
              </a:solidFill>
              <a:latin typeface="Catamaran" panose="020B0604020202020204" charset="0"/>
              <a:cs typeface="Catamaran" panose="020B0604020202020204" charset="0"/>
            </a:endParaRPr>
          </a:p>
        </p:txBody>
      </p:sp>
      <p:sp>
        <p:nvSpPr>
          <p:cNvPr id="9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5F05BD8C-75CB-F6C3-0243-14FC44DD4137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4528427" y="1251873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Accuracy is Not Enough: Discrimination vs. Calibration</a:t>
            </a:r>
          </a:p>
        </p:txBody>
      </p:sp>
      <p:sp>
        <p:nvSpPr>
          <p:cNvPr id="10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123AAC5C-157B-3B55-1942-784B8E41094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4541030" y="1576677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Calibration Methods: Platt, Isotonic, and Venn-</a:t>
            </a:r>
            <a:r>
              <a:rPr lang="en-US" sz="1200" b="1" dirty="0" err="1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Abers</a:t>
            </a:r>
            <a:endParaRPr lang="en-US" sz="1200" b="1" dirty="0">
              <a:solidFill>
                <a:schemeClr val="tx2"/>
              </a:solidFill>
              <a:latin typeface="Catamaran" panose="020B0604020202020204" charset="0"/>
              <a:cs typeface="Catamaran" panose="020B0604020202020204" charset="0"/>
            </a:endParaRPr>
          </a:p>
        </p:txBody>
      </p:sp>
      <p:sp>
        <p:nvSpPr>
          <p:cNvPr id="11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B1D71953-C189-D7AC-2058-78E041D15A4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541030" y="1895304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Our Dataset &amp; Experimental Setup</a:t>
            </a:r>
          </a:p>
        </p:txBody>
      </p:sp>
      <p:sp>
        <p:nvSpPr>
          <p:cNvPr id="2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B9483475-6B13-5D88-E5DA-364A402874D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541030" y="2195584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Credit Risk Data Preparation</a:t>
            </a:r>
          </a:p>
        </p:txBody>
      </p:sp>
      <p:sp>
        <p:nvSpPr>
          <p:cNvPr id="5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4D24E2A4-6D94-D815-011C-BAA1A62F5CE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571999" y="2549209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Results on Credit Risk Data: Accuracy vs. Calibration</a:t>
            </a:r>
          </a:p>
        </p:txBody>
      </p:sp>
      <p:sp>
        <p:nvSpPr>
          <p:cNvPr id="6" name="Text Placeholder 4">
            <a:hlinkClick r:id="rId16" action="ppaction://hlinksldjump"/>
            <a:extLst>
              <a:ext uri="{FF2B5EF4-FFF2-40B4-BE49-F238E27FC236}">
                <a16:creationId xmlns:a16="http://schemas.microsoft.com/office/drawing/2014/main" id="{C2B4952A-8A57-D05F-3B50-2CEFE72A6D9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571999" y="2867988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Simulated Data Generation</a:t>
            </a:r>
          </a:p>
        </p:txBody>
      </p:sp>
      <p:sp>
        <p:nvSpPr>
          <p:cNvPr id="7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EA41B23B-5539-B73B-D142-61DFF193CB5C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571999" y="3203114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Results on Simulated Data</a:t>
            </a:r>
          </a:p>
        </p:txBody>
      </p:sp>
      <p:sp>
        <p:nvSpPr>
          <p:cNvPr id="12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325B2701-BD25-5A24-828A-83B799D3CA3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571999" y="3523363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Probability Intervals</a:t>
            </a:r>
          </a:p>
        </p:txBody>
      </p:sp>
      <p:sp>
        <p:nvSpPr>
          <p:cNvPr id="13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F01DA9CA-794C-F524-1E5D-32A8A79BE53E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571999" y="4111396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References</a:t>
            </a:r>
          </a:p>
        </p:txBody>
      </p:sp>
      <p:sp>
        <p:nvSpPr>
          <p:cNvPr id="14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22F063E4-4560-D8D6-F089-D6DE28E564A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571999" y="3824320"/>
            <a:ext cx="3771900" cy="342900"/>
          </a:xfrm>
          <a:prstGeom prst="rect">
            <a:avLst/>
          </a:prstGeom>
          <a:solidFill>
            <a:srgbClr val="AD0505"/>
          </a:solidFill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1200" b="1" kern="1200" dirty="0">
                <a:solidFill>
                  <a:schemeClr val="bg1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Conclusion &amp; Key Takeaways</a:t>
            </a:r>
          </a:p>
        </p:txBody>
      </p:sp>
    </p:spTree>
    <p:extLst>
      <p:ext uri="{BB962C8B-B14F-4D97-AF65-F5344CB8AC3E}">
        <p14:creationId xmlns:p14="http://schemas.microsoft.com/office/powerpoint/2010/main" val="216322287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11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/>
              <a:t>28</a:t>
            </a:fld>
            <a:endParaRPr/>
          </a:p>
        </p:txBody>
      </p:sp>
      <p:sp>
        <p:nvSpPr>
          <p:cNvPr id="112" name="Google Shape;112;p11"/>
          <p:cNvSpPr txBox="1">
            <a:spLocks noGrp="1"/>
          </p:cNvSpPr>
          <p:nvPr>
            <p:ph type="subTitle" idx="2"/>
          </p:nvPr>
        </p:nvSpPr>
        <p:spPr>
          <a:xfrm>
            <a:off x="1414799" y="4779100"/>
            <a:ext cx="6896219" cy="3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n-US" dirty="0"/>
              <a:t>Statistical Learning - </a:t>
            </a:r>
            <a:r>
              <a:rPr lang="en-US" sz="900" dirty="0"/>
              <a:t>The Importance of Being Calibrated: A Study on Probability Calibration and Interval Estimation for Binary Classification</a:t>
            </a:r>
          </a:p>
          <a:p>
            <a:pPr marL="0" lvl="0" indent="0" algn="l" rtl="0">
              <a:spcBef>
                <a:spcPts val="1600"/>
              </a:spcBef>
              <a:spcAft>
                <a:spcPts val="1600"/>
              </a:spcAft>
              <a:buNone/>
            </a:pPr>
            <a:endParaRPr dirty="0"/>
          </a:p>
        </p:txBody>
      </p:sp>
      <p:sp>
        <p:nvSpPr>
          <p:cNvPr id="115" name="Google Shape;115;p11"/>
          <p:cNvSpPr txBox="1">
            <a:spLocks noGrp="1"/>
          </p:cNvSpPr>
          <p:nvPr>
            <p:ph type="body" idx="1"/>
          </p:nvPr>
        </p:nvSpPr>
        <p:spPr>
          <a:xfrm>
            <a:off x="645450" y="914747"/>
            <a:ext cx="7853100" cy="3450574"/>
          </a:xfrm>
          <a:prstGeom prst="rect">
            <a:avLst/>
          </a:prstGeom>
          <a:ln>
            <a:solidFill>
              <a:srgbClr val="C00000"/>
            </a:solidFill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000" b="1" dirty="0"/>
              <a:t>Calibration is a Crucial, Separate Property from Accuracy:  </a:t>
            </a:r>
            <a:r>
              <a:rPr lang="en-US" sz="1000" dirty="0"/>
              <a:t>a model can be highly accurate yet poorly calibrated, making its probability scores misleading and untrustworthy for real-world risk assessment. Explicitly measuring and improving calibration is essential for any application relying on probabilistic predictions.</a:t>
            </a: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endParaRPr lang="en-US" sz="1000" dirty="0"/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000" b="1" dirty="0"/>
              <a:t>The Best Calibration Method is Context-Dependent:</a:t>
            </a:r>
          </a:p>
          <a:p>
            <a:pPr marL="742950" lvl="2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SzPts val="1300"/>
              <a:buFont typeface="Arial" panose="020B0604020202020204" pitchFamily="34" charset="0"/>
              <a:buChar char="•"/>
            </a:pPr>
            <a:r>
              <a:rPr lang="en-US" sz="1000" b="1" dirty="0">
                <a:sym typeface="Arial"/>
              </a:rPr>
              <a:t>Platt Scaling: </a:t>
            </a:r>
            <a:r>
              <a:rPr lang="en-US" sz="1000" dirty="0">
                <a:sym typeface="Arial"/>
              </a:rPr>
              <a:t>A good, fast default for simple models like Logistic Regression.</a:t>
            </a:r>
          </a:p>
          <a:p>
            <a:pPr marL="742950" lvl="2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SzPts val="1300"/>
              <a:buFont typeface="Arial" panose="020B0604020202020204" pitchFamily="34" charset="0"/>
              <a:buChar char="•"/>
            </a:pPr>
            <a:r>
              <a:rPr lang="en-US" sz="1000" b="1" dirty="0">
                <a:sym typeface="Arial"/>
              </a:rPr>
              <a:t>Isotonic Regression:</a:t>
            </a:r>
            <a:r>
              <a:rPr lang="en-US" sz="1000" dirty="0">
                <a:sym typeface="Arial"/>
              </a:rPr>
              <a:t> Powerful but can overfit on small datasets. Excellent for larger, well-behaved datasets.</a:t>
            </a:r>
          </a:p>
          <a:p>
            <a:pPr marL="742950" lvl="2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SzPts val="1300"/>
              <a:buFont typeface="Arial" panose="020B0604020202020204" pitchFamily="34" charset="0"/>
              <a:buChar char="•"/>
            </a:pPr>
            <a:r>
              <a:rPr lang="en-US" sz="1000" b="1" dirty="0">
                <a:sym typeface="Arial"/>
              </a:rPr>
              <a:t>Venn-</a:t>
            </a:r>
            <a:r>
              <a:rPr lang="en-US" sz="1000" b="1" dirty="0" err="1">
                <a:sym typeface="Arial"/>
              </a:rPr>
              <a:t>Abers</a:t>
            </a:r>
            <a:r>
              <a:rPr lang="en-US" sz="1000" b="1" dirty="0">
                <a:sym typeface="Arial"/>
              </a:rPr>
              <a:t> Predictors:</a:t>
            </a:r>
            <a:r>
              <a:rPr lang="en-US" sz="1000" dirty="0">
                <a:sym typeface="Arial"/>
              </a:rPr>
              <a:t> Provide robust, distribution-free calibration guarantees and are highly competitive, especially on complex models like </a:t>
            </a:r>
            <a:r>
              <a:rPr lang="en-US" sz="1000" dirty="0" err="1">
                <a:sym typeface="Arial"/>
              </a:rPr>
              <a:t>XGBoost</a:t>
            </a:r>
            <a:r>
              <a:rPr lang="en-US" sz="1000" dirty="0">
                <a:sym typeface="Arial"/>
              </a:rPr>
              <a:t>. They offer a unique advantage: inherently valid probability intervals.</a:t>
            </a:r>
          </a:p>
          <a:p>
            <a:pPr marL="457200" lvl="2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SzPts val="1300"/>
              <a:buNone/>
            </a:pPr>
            <a:endParaRPr lang="en-US" sz="1000" dirty="0">
              <a:sym typeface="Arial"/>
            </a:endParaRPr>
          </a:p>
          <a:p>
            <a:pPr marL="285750" lvl="1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SzPts val="1300"/>
              <a:buFont typeface="+mj-lt"/>
              <a:buAutoNum type="arabicPeriod" startAt="3"/>
            </a:pPr>
            <a:r>
              <a:rPr lang="en-US" sz="1000" b="1" dirty="0">
                <a:sym typeface="Arial"/>
              </a:rPr>
              <a:t>For Precise Uncertainty Quantification, Venn-</a:t>
            </a:r>
            <a:r>
              <a:rPr lang="en-US" sz="1000" b="1" dirty="0" err="1">
                <a:sym typeface="Arial"/>
              </a:rPr>
              <a:t>Abers</a:t>
            </a:r>
            <a:r>
              <a:rPr lang="en-US" sz="1000" b="1" dirty="0">
                <a:sym typeface="Arial"/>
              </a:rPr>
              <a:t> is Superior: </a:t>
            </a:r>
            <a:r>
              <a:rPr lang="en-US" sz="1000" dirty="0">
                <a:sym typeface="Arial"/>
              </a:rPr>
              <a:t>Our results demonstrate that Venn-</a:t>
            </a:r>
            <a:r>
              <a:rPr lang="en-US" sz="1000" dirty="0" err="1">
                <a:sym typeface="Arial"/>
              </a:rPr>
              <a:t>Abers</a:t>
            </a:r>
            <a:r>
              <a:rPr lang="en-US" sz="1000" dirty="0">
                <a:sym typeface="Arial"/>
              </a:rPr>
              <a:t> predictors (IVAP and CVAP mean) generate prediction intervals that are significantly tighter than traditional bootstrap methods, while maintaining validity. This makes them ideal for applications requiring precise uncertainty estimates.</a:t>
            </a:r>
          </a:p>
          <a:p>
            <a:pPr marL="285750" lvl="1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SzPts val="1300"/>
              <a:buFont typeface="+mj-lt"/>
              <a:buAutoNum type="arabicPeriod" startAt="3"/>
            </a:pPr>
            <a:endParaRPr lang="en-US" sz="1000" b="1" dirty="0">
              <a:sym typeface="Arial"/>
            </a:endParaRPr>
          </a:p>
          <a:p>
            <a:pPr marL="742950" lvl="2" indent="-28575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SzPts val="1300"/>
              <a:buFont typeface="Arial" panose="020B0604020202020204" pitchFamily="34" charset="0"/>
              <a:buChar char="•"/>
            </a:pPr>
            <a:endParaRPr lang="en-US" sz="1000" dirty="0">
              <a:sym typeface="Arial"/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31BE46CB-6A13-9AFB-467E-0B3B404F2921}"/>
              </a:ext>
            </a:extLst>
          </p:cNvPr>
          <p:cNvSpPr/>
          <p:nvPr/>
        </p:nvSpPr>
        <p:spPr>
          <a:xfrm>
            <a:off x="472339" y="58549"/>
            <a:ext cx="407676" cy="383512"/>
          </a:xfrm>
          <a:prstGeom prst="ellipse">
            <a:avLst/>
          </a:prstGeom>
          <a:solidFill>
            <a:srgbClr val="AD0505"/>
          </a:solidFill>
          <a:ln>
            <a:solidFill>
              <a:srgbClr val="AD050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Google Shape;70;p7">
            <a:extLst>
              <a:ext uri="{FF2B5EF4-FFF2-40B4-BE49-F238E27FC236}">
                <a16:creationId xmlns:a16="http://schemas.microsoft.com/office/drawing/2014/main" id="{EEAC0AB6-2E67-C715-FBEA-C415FB52BC26}"/>
              </a:ext>
            </a:extLst>
          </p:cNvPr>
          <p:cNvSpPr txBox="1">
            <a:spLocks/>
          </p:cNvSpPr>
          <p:nvPr/>
        </p:nvSpPr>
        <p:spPr>
          <a:xfrm>
            <a:off x="558092" y="58549"/>
            <a:ext cx="7688700" cy="53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Catamaran"/>
              <a:buNone/>
              <a:defRPr sz="2600" b="1" i="0" u="none" strike="noStrike" cap="none">
                <a:solidFill>
                  <a:schemeClr val="dk2"/>
                </a:solidFill>
                <a:latin typeface="Catamaran"/>
                <a:ea typeface="Catamaran"/>
                <a:cs typeface="Catamaran"/>
                <a:sym typeface="Catamara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r>
              <a:rPr lang="en-US" sz="1600" dirty="0"/>
              <a:t>Conclusion &amp; Key Takeaways</a:t>
            </a: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7"/>
          <p:cNvSpPr txBox="1">
            <a:spLocks noGrp="1"/>
          </p:cNvSpPr>
          <p:nvPr>
            <p:ph type="title"/>
          </p:nvPr>
        </p:nvSpPr>
        <p:spPr>
          <a:xfrm>
            <a:off x="836507" y="2036550"/>
            <a:ext cx="2632407" cy="53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it" dirty="0"/>
              <a:t>Agenda</a:t>
            </a:r>
            <a:endParaRPr dirty="0"/>
          </a:p>
        </p:txBody>
      </p:sp>
      <p:sp>
        <p:nvSpPr>
          <p:cNvPr id="71" name="Google Shape;71;p7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/>
              <a:t>29</a:t>
            </a:fld>
            <a:endParaRPr/>
          </a:p>
        </p:txBody>
      </p:sp>
      <p:sp>
        <p:nvSpPr>
          <p:cNvPr id="72" name="Google Shape;72;p7"/>
          <p:cNvSpPr txBox="1">
            <a:spLocks noGrp="1"/>
          </p:cNvSpPr>
          <p:nvPr>
            <p:ph type="subTitle" idx="2"/>
          </p:nvPr>
        </p:nvSpPr>
        <p:spPr>
          <a:xfrm>
            <a:off x="1414800" y="4814047"/>
            <a:ext cx="7001550" cy="36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it" dirty="0"/>
              <a:t>Statistical Learning - </a:t>
            </a:r>
            <a:r>
              <a:rPr lang="en-US" sz="900" dirty="0"/>
              <a:t>The Importance of Being Calibrated: A Study on Probability Calibration and Interval Estimation for Binary Classification</a:t>
            </a:r>
            <a:endParaRPr sz="900" dirty="0"/>
          </a:p>
        </p:txBody>
      </p:sp>
      <p:pic>
        <p:nvPicPr>
          <p:cNvPr id="3" name="Picture 2" descr="A credit score gauge with a needle and a needle&#10;&#10;Description automatically generated with medium confidence">
            <a:extLst>
              <a:ext uri="{FF2B5EF4-FFF2-40B4-BE49-F238E27FC236}">
                <a16:creationId xmlns:a16="http://schemas.microsoft.com/office/drawing/2014/main" id="{9FCF091F-D737-673B-5DF8-C50E86D44B9B}"/>
              </a:ext>
            </a:extLst>
          </p:cNvPr>
          <p:cNvPicPr>
            <a:picLocks noChangeAspect="1"/>
          </p:cNvPicPr>
          <p:nvPr/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030" y="1838522"/>
            <a:ext cx="3875320" cy="217855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8C92F66-DD98-00C1-7C0B-03704970C3A5}"/>
              </a:ext>
            </a:extLst>
          </p:cNvPr>
          <p:cNvSpPr/>
          <p:nvPr/>
        </p:nvSpPr>
        <p:spPr>
          <a:xfrm>
            <a:off x="4215460" y="495936"/>
            <a:ext cx="4869542" cy="4307386"/>
          </a:xfrm>
          <a:prstGeom prst="rect">
            <a:avLst/>
          </a:prstGeom>
          <a:solidFill>
            <a:schemeClr val="bg2">
              <a:lumMod val="50000"/>
              <a:lumOff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A9F4115F-1744-27F1-D226-BAC0AD24BF02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4528427" y="888657"/>
            <a:ext cx="4383753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Introduction &amp; Motivation: Can We Trust a Model's Confidence?</a:t>
            </a:r>
            <a:endParaRPr lang="en-US" sz="1200" b="1" dirty="0">
              <a:solidFill>
                <a:schemeClr val="tx2"/>
              </a:solidFill>
              <a:latin typeface="Catamaran" panose="020B0604020202020204" charset="0"/>
              <a:cs typeface="Catamaran" panose="020B0604020202020204" charset="0"/>
            </a:endParaRPr>
          </a:p>
        </p:txBody>
      </p:sp>
      <p:sp>
        <p:nvSpPr>
          <p:cNvPr id="9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5F05BD8C-75CB-F6C3-0243-14FC44DD4137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4528427" y="1251873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Accuracy is Not Enough: Discrimination vs. Calibration</a:t>
            </a:r>
          </a:p>
        </p:txBody>
      </p:sp>
      <p:sp>
        <p:nvSpPr>
          <p:cNvPr id="10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123AAC5C-157B-3B55-1942-784B8E41094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4541030" y="1576677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Calibration Methods: Platt, Isotonic, and Venn-</a:t>
            </a:r>
            <a:r>
              <a:rPr lang="en-US" sz="1200" b="1" dirty="0" err="1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Abers</a:t>
            </a:r>
            <a:endParaRPr lang="en-US" sz="1200" b="1" dirty="0">
              <a:solidFill>
                <a:schemeClr val="tx2"/>
              </a:solidFill>
              <a:latin typeface="Catamaran" panose="020B0604020202020204" charset="0"/>
              <a:cs typeface="Catamaran" panose="020B0604020202020204" charset="0"/>
            </a:endParaRPr>
          </a:p>
        </p:txBody>
      </p:sp>
      <p:sp>
        <p:nvSpPr>
          <p:cNvPr id="11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B1D71953-C189-D7AC-2058-78E041D15A4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541030" y="1895304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Our Dataset &amp; Experimental Setup</a:t>
            </a:r>
          </a:p>
        </p:txBody>
      </p:sp>
      <p:sp>
        <p:nvSpPr>
          <p:cNvPr id="2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B9483475-6B13-5D88-E5DA-364A402874D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541030" y="2195584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Credit Risk Data Preparation</a:t>
            </a:r>
          </a:p>
        </p:txBody>
      </p:sp>
      <p:sp>
        <p:nvSpPr>
          <p:cNvPr id="5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4D24E2A4-6D94-D815-011C-BAA1A62F5CE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571999" y="2549209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Results on Credit Risk Data: Accuracy vs. Calibration</a:t>
            </a:r>
          </a:p>
        </p:txBody>
      </p:sp>
      <p:sp>
        <p:nvSpPr>
          <p:cNvPr id="6" name="Text Placeholder 4">
            <a:hlinkClick r:id="rId16" action="ppaction://hlinksldjump"/>
            <a:extLst>
              <a:ext uri="{FF2B5EF4-FFF2-40B4-BE49-F238E27FC236}">
                <a16:creationId xmlns:a16="http://schemas.microsoft.com/office/drawing/2014/main" id="{C2B4952A-8A57-D05F-3B50-2CEFE72A6D9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571999" y="2867988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Simulated Data Generation</a:t>
            </a:r>
          </a:p>
        </p:txBody>
      </p:sp>
      <p:sp>
        <p:nvSpPr>
          <p:cNvPr id="7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EA41B23B-5539-B73B-D142-61DFF193CB5C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571999" y="3203114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Results on Simulated Data</a:t>
            </a:r>
          </a:p>
        </p:txBody>
      </p:sp>
      <p:sp>
        <p:nvSpPr>
          <p:cNvPr id="12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325B2701-BD25-5A24-828A-83B799D3CA3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571999" y="3523363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Probability Intervals</a:t>
            </a:r>
          </a:p>
        </p:txBody>
      </p:sp>
      <p:sp>
        <p:nvSpPr>
          <p:cNvPr id="13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F01DA9CA-794C-F524-1E5D-32A8A79BE53E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571999" y="4111396"/>
            <a:ext cx="3771900" cy="342900"/>
          </a:xfrm>
          <a:prstGeom prst="rect">
            <a:avLst/>
          </a:prstGeom>
          <a:solidFill>
            <a:srgbClr val="AD0505"/>
          </a:solidFill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1200" b="1" kern="1200" dirty="0">
                <a:solidFill>
                  <a:schemeClr val="bg1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References</a:t>
            </a:r>
          </a:p>
        </p:txBody>
      </p:sp>
      <p:sp>
        <p:nvSpPr>
          <p:cNvPr id="14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22F063E4-4560-D8D6-F089-D6DE28E564A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571999" y="3824320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Conclusion &amp; Key Takeaways</a:t>
            </a:r>
          </a:p>
        </p:txBody>
      </p:sp>
    </p:spTree>
    <p:extLst>
      <p:ext uri="{BB962C8B-B14F-4D97-AF65-F5344CB8AC3E}">
        <p14:creationId xmlns:p14="http://schemas.microsoft.com/office/powerpoint/2010/main" val="36707582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7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/>
              <a:t>3</a:t>
            </a:fld>
            <a:endParaRPr/>
          </a:p>
        </p:txBody>
      </p:sp>
      <p:sp>
        <p:nvSpPr>
          <p:cNvPr id="72" name="Google Shape;72;p7"/>
          <p:cNvSpPr txBox="1">
            <a:spLocks noGrp="1"/>
          </p:cNvSpPr>
          <p:nvPr>
            <p:ph type="subTitle" idx="2"/>
          </p:nvPr>
        </p:nvSpPr>
        <p:spPr>
          <a:xfrm>
            <a:off x="1421238" y="4749851"/>
            <a:ext cx="6983725" cy="3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n-US" dirty="0"/>
              <a:t>Statistical Learning - </a:t>
            </a:r>
            <a:r>
              <a:rPr lang="en-US" sz="900" dirty="0"/>
              <a:t>The Importance of Being Calibrated: A Study on Probability Calibration and Interval Estimation for Binary Classification</a:t>
            </a:r>
          </a:p>
        </p:txBody>
      </p:sp>
      <p:sp>
        <p:nvSpPr>
          <p:cNvPr id="73" name="Google Shape;73;p7"/>
          <p:cNvSpPr txBox="1"/>
          <p:nvPr/>
        </p:nvSpPr>
        <p:spPr>
          <a:xfrm>
            <a:off x="718566" y="970288"/>
            <a:ext cx="3683876" cy="163609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r>
              <a:rPr lang="it" sz="1600" b="1" dirty="0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rPr>
              <a:t>Question: </a:t>
            </a:r>
          </a:p>
          <a:p>
            <a:pPr marL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rPr>
              <a:t>A model predicts a 20% chance of positive class. What does this actually mean?</a:t>
            </a:r>
          </a:p>
          <a:p>
            <a:pPr marL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endParaRPr lang="en-US" sz="1200" dirty="0">
              <a:solidFill>
                <a:schemeClr val="accent1"/>
              </a:solidFill>
              <a:latin typeface="Catamaran"/>
              <a:ea typeface="Catamaran"/>
              <a:cs typeface="Catamaran"/>
              <a:sym typeface="Catamaran"/>
            </a:endParaRPr>
          </a:p>
          <a:p>
            <a:pPr marL="171450" lvl="2" indent="-171450" algn="just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rPr>
              <a:t>For a </a:t>
            </a:r>
            <a:r>
              <a:rPr lang="en-US" sz="1200" b="1" dirty="0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rPr>
              <a:t>well-calibrated model</a:t>
            </a:r>
            <a:r>
              <a:rPr lang="en-US" sz="1200" dirty="0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rPr>
              <a:t>, over many predictions,  a model that gives a 20% probability score should be correct </a:t>
            </a:r>
            <a:r>
              <a:rPr lang="en-US" sz="1200" b="1" dirty="0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rPr>
              <a:t>approximately</a:t>
            </a:r>
            <a:r>
              <a:rPr lang="en-US" sz="1200" dirty="0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rPr>
              <a:t> 20% of the time for similar predictions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17CE4FC-5CBB-CAAC-715D-A087F9904B85}"/>
              </a:ext>
            </a:extLst>
          </p:cNvPr>
          <p:cNvSpPr/>
          <p:nvPr/>
        </p:nvSpPr>
        <p:spPr>
          <a:xfrm>
            <a:off x="472339" y="58549"/>
            <a:ext cx="407676" cy="383512"/>
          </a:xfrm>
          <a:prstGeom prst="ellipse">
            <a:avLst/>
          </a:prstGeom>
          <a:solidFill>
            <a:srgbClr val="AD0505"/>
          </a:solidFill>
          <a:ln>
            <a:solidFill>
              <a:srgbClr val="AD050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0" name="Google Shape;70;p7"/>
          <p:cNvSpPr txBox="1">
            <a:spLocks noGrp="1"/>
          </p:cNvSpPr>
          <p:nvPr>
            <p:ph type="title"/>
          </p:nvPr>
        </p:nvSpPr>
        <p:spPr>
          <a:xfrm>
            <a:off x="558092" y="58549"/>
            <a:ext cx="7688700" cy="53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/>
              <a:t>Introduction &amp; Motivation: Can We Trust a Model's Confidence?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8" name="Table 7">
                <a:extLst>
                  <a:ext uri="{FF2B5EF4-FFF2-40B4-BE49-F238E27FC236}">
                    <a16:creationId xmlns:a16="http://schemas.microsoft.com/office/drawing/2014/main" id="{12B256D2-D43C-AB7A-4017-D632F8D3BCE9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005446815"/>
                  </p:ext>
                </p:extLst>
              </p:nvPr>
            </p:nvGraphicFramePr>
            <p:xfrm>
              <a:off x="4896869" y="1059735"/>
              <a:ext cx="3639433" cy="3220600"/>
            </p:xfrm>
            <a:graphic>
              <a:graphicData uri="http://schemas.openxmlformats.org/drawingml/2006/table">
                <a:tbl>
                  <a:tblPr firstRow="1" bandRow="1">
                    <a:tableStyleId>{F2DE63D5-997A-4646-A377-4702673A728D}</a:tableStyleId>
                  </a:tblPr>
                  <a:tblGrid>
                    <a:gridCol w="1376763">
                      <a:extLst>
                        <a:ext uri="{9D8B030D-6E8A-4147-A177-3AD203B41FA5}">
                          <a16:colId xmlns:a16="http://schemas.microsoft.com/office/drawing/2014/main" val="2413286585"/>
                        </a:ext>
                      </a:extLst>
                    </a:gridCol>
                    <a:gridCol w="1253416">
                      <a:extLst>
                        <a:ext uri="{9D8B030D-6E8A-4147-A177-3AD203B41FA5}">
                          <a16:colId xmlns:a16="http://schemas.microsoft.com/office/drawing/2014/main" val="735470082"/>
                        </a:ext>
                      </a:extLst>
                    </a:gridCol>
                    <a:gridCol w="1009254">
                      <a:extLst>
                        <a:ext uri="{9D8B030D-6E8A-4147-A177-3AD203B41FA5}">
                          <a16:colId xmlns:a16="http://schemas.microsoft.com/office/drawing/2014/main" val="1624788661"/>
                        </a:ext>
                      </a:extLst>
                    </a:gridCol>
                  </a:tblGrid>
                  <a:tr h="460228">
                    <a:tc>
                      <a:txBody>
                        <a:bodyPr/>
                        <a:lstStyle/>
                        <a:p>
                          <a:pPr marR="0" algn="ctr" rtl="0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Font typeface="Arial"/>
                          </a:pPr>
                          <a:r>
                            <a:rPr lang="en-US" sz="1200" b="1" i="0" u="none" strike="noStrike" cap="none" dirty="0">
                              <a:solidFill>
                                <a:schemeClr val="bg1">
                                  <a:lumMod val="95000"/>
                                </a:schemeClr>
                              </a:solidFill>
                              <a:latin typeface="Catamaran" panose="020B0604020202020204" charset="0"/>
                              <a:ea typeface="+mn-ea"/>
                              <a:cs typeface="Catamaran" panose="020B0604020202020204" charset="0"/>
                              <a:sym typeface="Arial"/>
                            </a:rPr>
                            <a:t>Predicted Probability </a:t>
                          </a:r>
                          <a14:m>
                            <m:oMath xmlns:m="http://schemas.openxmlformats.org/officeDocument/2006/math">
                              <m:r>
                                <a:rPr lang="en-US" sz="1200" b="1" i="1" u="none" strike="noStrike" cap="none" smtClean="0">
                                  <a:solidFill>
                                    <a:schemeClr val="bg1">
                                      <a:lumMod val="95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+mn-ea"/>
                                  <a:cs typeface="Catamaran" panose="020B0604020202020204" charset="0"/>
                                  <a:sym typeface="Arial"/>
                                </a:rPr>
                                <m:t>𝑷</m:t>
                              </m:r>
                              <m:d>
                                <m:dPr>
                                  <m:endChr m:val="|"/>
                                  <m:ctrlPr>
                                    <a:rPr lang="en-US" sz="1200" b="1" i="1" u="none" strike="noStrike" cap="none" smtClean="0">
                                      <a:solidFill>
                                        <a:schemeClr val="bg1">
                                          <a:lumMod val="95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  <a:ea typeface="+mn-ea"/>
                                      <a:cs typeface="Catamaran" panose="020B0604020202020204" charset="0"/>
                                      <a:sym typeface="Arial"/>
                                    </a:rPr>
                                  </m:ctrlPr>
                                </m:dPr>
                                <m:e>
                                  <m:r>
                                    <a:rPr lang="en-US" sz="1200" b="1" i="1" u="none" strike="noStrike" cap="none" smtClean="0">
                                      <a:solidFill>
                                        <a:schemeClr val="bg1">
                                          <a:lumMod val="95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  <a:ea typeface="+mn-ea"/>
                                      <a:cs typeface="Catamaran" panose="020B0604020202020204" charset="0"/>
                                      <a:sym typeface="Arial"/>
                                    </a:rPr>
                                    <m:t>𝒀</m:t>
                                  </m:r>
                                  <m:r>
                                    <a:rPr lang="en-US" sz="1200" b="1" i="1" u="none" strike="noStrike" cap="none" smtClean="0">
                                      <a:solidFill>
                                        <a:schemeClr val="bg1">
                                          <a:lumMod val="95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  <a:ea typeface="+mn-ea"/>
                                      <a:cs typeface="Catamaran" panose="020B0604020202020204" charset="0"/>
                                      <a:sym typeface="Arial"/>
                                    </a:rPr>
                                    <m:t>=</m:t>
                                  </m:r>
                                  <m:r>
                                    <a:rPr lang="en-US" sz="1200" b="1" i="1" u="none" strike="noStrike" cap="none" smtClean="0">
                                      <a:solidFill>
                                        <a:schemeClr val="bg1">
                                          <a:lumMod val="95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  <a:ea typeface="+mn-ea"/>
                                      <a:cs typeface="Catamaran" panose="020B0604020202020204" charset="0"/>
                                      <a:sym typeface="Arial"/>
                                    </a:rPr>
                                    <m:t>𝟏</m:t>
                                  </m:r>
                                </m:e>
                              </m:d>
                              <m:r>
                                <a:rPr lang="en-US" sz="1200" b="1" i="1" u="none" strike="noStrike" cap="none" smtClean="0">
                                  <a:solidFill>
                                    <a:schemeClr val="bg1">
                                      <a:lumMod val="95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+mn-ea"/>
                                  <a:cs typeface="Catamaran" panose="020B0604020202020204" charset="0"/>
                                  <a:sym typeface="Arial"/>
                                </a:rPr>
                                <m:t>𝑿</m:t>
                              </m:r>
                              <m:r>
                                <a:rPr lang="en-US" sz="1200" b="1" i="1" u="none" strike="noStrike" cap="none" smtClean="0">
                                  <a:solidFill>
                                    <a:schemeClr val="bg1">
                                      <a:lumMod val="95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+mn-ea"/>
                                  <a:cs typeface="Catamaran" panose="020B0604020202020204" charset="0"/>
                                  <a:sym typeface="Arial"/>
                                </a:rPr>
                                <m:t>=</m:t>
                              </m:r>
                              <m:r>
                                <a:rPr lang="en-US" sz="1200" b="1" i="1" u="none" strike="noStrike" cap="none" smtClean="0">
                                  <a:solidFill>
                                    <a:schemeClr val="bg1">
                                      <a:lumMod val="95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+mn-ea"/>
                                  <a:cs typeface="Catamaran" panose="020B0604020202020204" charset="0"/>
                                  <a:sym typeface="Arial"/>
                                </a:rPr>
                                <m:t>𝒙</m:t>
                              </m:r>
                              <m:r>
                                <a:rPr lang="en-US" sz="1200" b="1" i="1" u="none" strike="noStrike" cap="none" smtClean="0">
                                  <a:solidFill>
                                    <a:schemeClr val="bg1">
                                      <a:lumMod val="95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+mn-ea"/>
                                  <a:cs typeface="Catamaran" panose="020B0604020202020204" charset="0"/>
                                  <a:sym typeface="Arial"/>
                                </a:rPr>
                                <m:t>)</m:t>
                              </m:r>
                            </m:oMath>
                          </a14:m>
                          <a:endParaRPr lang="en-US" sz="1200" b="1" i="0" u="none" strike="noStrike" cap="none" dirty="0">
                            <a:solidFill>
                              <a:schemeClr val="bg1">
                                <a:lumMod val="95000"/>
                              </a:schemeClr>
                            </a:solidFill>
                            <a:latin typeface="Catamaran" panose="020B0604020202020204" charset="0"/>
                            <a:ea typeface="+mn-ea"/>
                            <a:cs typeface="Catamaran" panose="020B0604020202020204" charset="0"/>
                            <a:sym typeface="Arial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rgbClr val="AD0505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R="0" algn="ctr" rtl="0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Font typeface="Arial"/>
                          </a:pPr>
                          <a:r>
                            <a:rPr lang="en-US" sz="1200" b="1" u="none" strike="noStrike" cap="none" dirty="0">
                              <a:solidFill>
                                <a:schemeClr val="bg1">
                                  <a:lumMod val="9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  <a:sym typeface="Arial"/>
                            </a:rPr>
                            <a:t>True Outcome</a:t>
                          </a:r>
                          <a:endParaRPr lang="en-US" sz="1200" b="1" i="0" u="none" strike="noStrike" cap="none" dirty="0">
                            <a:solidFill>
                              <a:schemeClr val="bg1">
                                <a:lumMod val="95000"/>
                              </a:schemeClr>
                            </a:solidFill>
                            <a:latin typeface="Catamaran" panose="020B0604020202020204" charset="0"/>
                            <a:ea typeface="+mn-ea"/>
                            <a:cs typeface="Catamaran" panose="020B0604020202020204" charset="0"/>
                            <a:sym typeface="Arial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rgbClr val="AD0505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R="0" algn="ctr" rtl="0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Font typeface="Arial"/>
                          </a:pPr>
                          <a:r>
                            <a:rPr lang="en-US" sz="1200" b="1" i="0" u="none" strike="noStrike" cap="none" dirty="0">
                              <a:solidFill>
                                <a:schemeClr val="bg1">
                                  <a:lumMod val="95000"/>
                                </a:schemeClr>
                              </a:solidFill>
                              <a:latin typeface="Catamaran" panose="020B0604020202020204" charset="0"/>
                              <a:ea typeface="+mn-ea"/>
                              <a:cs typeface="Catamaran" panose="020B0604020202020204" charset="0"/>
                              <a:sym typeface="Arial"/>
                            </a:rPr>
                            <a:t>Observed Frequency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rgbClr val="AD0505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647668371"/>
                      </a:ext>
                    </a:extLst>
                  </a:tr>
                  <a:tr h="258052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0.2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0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1/5 = 0.2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3861920635"/>
                      </a:ext>
                    </a:extLst>
                  </a:tr>
                  <a:tr h="258052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…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…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…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199214426"/>
                      </a:ext>
                    </a:extLst>
                  </a:tr>
                  <a:tr h="258052"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 typeface="Arial"/>
                            <a:buNone/>
                            <a:tabLst/>
                            <a:defRPr/>
                          </a:pPr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…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…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…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826115470"/>
                      </a:ext>
                    </a:extLst>
                  </a:tr>
                  <a:tr h="258052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0.2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0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1/5 = 0.2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1986306760"/>
                      </a:ext>
                    </a:extLst>
                  </a:tr>
                  <a:tr h="258052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…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…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en-US" sz="1000" dirty="0">
                            <a:solidFill>
                              <a:schemeClr val="bg2">
                                <a:lumMod val="75000"/>
                                <a:lumOff val="25000"/>
                              </a:schemeClr>
                            </a:solidFill>
                            <a:latin typeface="Catamaran" panose="020B0604020202020204" charset="0"/>
                            <a:cs typeface="Catamaran" panose="020B0604020202020204" charset="0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3746867186"/>
                      </a:ext>
                    </a:extLst>
                  </a:tr>
                  <a:tr h="258052"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 typeface="Arial"/>
                            <a:buNone/>
                            <a:tabLst/>
                            <a:defRPr/>
                          </a:pPr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0.2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1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1/5 = 0.2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3246449382"/>
                      </a:ext>
                    </a:extLst>
                  </a:tr>
                  <a:tr h="258052"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 typeface="Arial"/>
                            <a:buNone/>
                            <a:tabLst/>
                            <a:defRPr/>
                          </a:pPr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0.2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0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1/5 = 0.2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3929758652"/>
                      </a:ext>
                    </a:extLst>
                  </a:tr>
                  <a:tr h="258052"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 typeface="Arial"/>
                            <a:buNone/>
                            <a:tabLst/>
                            <a:defRPr/>
                          </a:pPr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…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…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…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152949821"/>
                      </a:ext>
                    </a:extLst>
                  </a:tr>
                  <a:tr h="258052"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 typeface="Arial"/>
                            <a:buNone/>
                            <a:tabLst/>
                            <a:defRPr/>
                          </a:pPr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…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…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…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1178317485"/>
                      </a:ext>
                    </a:extLst>
                  </a:tr>
                  <a:tr h="258052"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 typeface="Arial"/>
                            <a:buNone/>
                            <a:tabLst/>
                            <a:defRPr/>
                          </a:pPr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0.2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0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1/5 = 0.2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2695279991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8" name="Table 7">
                <a:extLst>
                  <a:ext uri="{FF2B5EF4-FFF2-40B4-BE49-F238E27FC236}">
                    <a16:creationId xmlns:a16="http://schemas.microsoft.com/office/drawing/2014/main" id="{12B256D2-D43C-AB7A-4017-D632F8D3BCE9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005446815"/>
                  </p:ext>
                </p:extLst>
              </p:nvPr>
            </p:nvGraphicFramePr>
            <p:xfrm>
              <a:off x="4896869" y="1059735"/>
              <a:ext cx="3639433" cy="3220600"/>
            </p:xfrm>
            <a:graphic>
              <a:graphicData uri="http://schemas.openxmlformats.org/drawingml/2006/table">
                <a:tbl>
                  <a:tblPr firstRow="1" bandRow="1">
                    <a:tableStyleId>{F2DE63D5-997A-4646-A377-4702673A728D}</a:tableStyleId>
                  </a:tblPr>
                  <a:tblGrid>
                    <a:gridCol w="1376763">
                      <a:extLst>
                        <a:ext uri="{9D8B030D-6E8A-4147-A177-3AD203B41FA5}">
                          <a16:colId xmlns:a16="http://schemas.microsoft.com/office/drawing/2014/main" val="2413286585"/>
                        </a:ext>
                      </a:extLst>
                    </a:gridCol>
                    <a:gridCol w="1253416">
                      <a:extLst>
                        <a:ext uri="{9D8B030D-6E8A-4147-A177-3AD203B41FA5}">
                          <a16:colId xmlns:a16="http://schemas.microsoft.com/office/drawing/2014/main" val="735470082"/>
                        </a:ext>
                      </a:extLst>
                    </a:gridCol>
                    <a:gridCol w="1009254">
                      <a:extLst>
                        <a:ext uri="{9D8B030D-6E8A-4147-A177-3AD203B41FA5}">
                          <a16:colId xmlns:a16="http://schemas.microsoft.com/office/drawing/2014/main" val="1624788661"/>
                        </a:ext>
                      </a:extLst>
                    </a:gridCol>
                  </a:tblGrid>
                  <a:tr h="64008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3"/>
                          <a:stretch>
                            <a:fillRect l="-442" t="-952" r="-165487" b="-40761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R="0" algn="ctr" rtl="0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Font typeface="Arial"/>
                          </a:pPr>
                          <a:r>
                            <a:rPr lang="en-US" sz="1200" b="1" u="none" strike="noStrike" cap="none" dirty="0">
                              <a:solidFill>
                                <a:schemeClr val="bg1">
                                  <a:lumMod val="9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  <a:sym typeface="Arial"/>
                            </a:rPr>
                            <a:t>True Outcome</a:t>
                          </a:r>
                          <a:endParaRPr lang="en-US" sz="1200" b="1" i="0" u="none" strike="noStrike" cap="none" dirty="0">
                            <a:solidFill>
                              <a:schemeClr val="bg1">
                                <a:lumMod val="95000"/>
                              </a:schemeClr>
                            </a:solidFill>
                            <a:latin typeface="Catamaran" panose="020B0604020202020204" charset="0"/>
                            <a:ea typeface="+mn-ea"/>
                            <a:cs typeface="Catamaran" panose="020B0604020202020204" charset="0"/>
                            <a:sym typeface="Arial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rgbClr val="AD0505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R="0" algn="ctr" rtl="0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Font typeface="Arial"/>
                          </a:pPr>
                          <a:r>
                            <a:rPr lang="en-US" sz="1200" b="1" i="0" u="none" strike="noStrike" cap="none" dirty="0">
                              <a:solidFill>
                                <a:schemeClr val="bg1">
                                  <a:lumMod val="95000"/>
                                </a:schemeClr>
                              </a:solidFill>
                              <a:latin typeface="Catamaran" panose="020B0604020202020204" charset="0"/>
                              <a:ea typeface="+mn-ea"/>
                              <a:cs typeface="Catamaran" panose="020B0604020202020204" charset="0"/>
                              <a:sym typeface="Arial"/>
                            </a:rPr>
                            <a:t>Observed Frequency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rgbClr val="AD0505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647668371"/>
                      </a:ext>
                    </a:extLst>
                  </a:tr>
                  <a:tr h="258052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0.2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0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1/5 = 0.2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3861920635"/>
                      </a:ext>
                    </a:extLst>
                  </a:tr>
                  <a:tr h="258052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…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…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…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199214426"/>
                      </a:ext>
                    </a:extLst>
                  </a:tr>
                  <a:tr h="258052"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 typeface="Arial"/>
                            <a:buNone/>
                            <a:tabLst/>
                            <a:defRPr/>
                          </a:pPr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…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…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…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826115470"/>
                      </a:ext>
                    </a:extLst>
                  </a:tr>
                  <a:tr h="258052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0.2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0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1/5 = 0.2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1986306760"/>
                      </a:ext>
                    </a:extLst>
                  </a:tr>
                  <a:tr h="258052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…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…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en-US" sz="1000" dirty="0">
                            <a:solidFill>
                              <a:schemeClr val="bg2">
                                <a:lumMod val="75000"/>
                                <a:lumOff val="25000"/>
                              </a:schemeClr>
                            </a:solidFill>
                            <a:latin typeface="Catamaran" panose="020B0604020202020204" charset="0"/>
                            <a:cs typeface="Catamaran" panose="020B0604020202020204" charset="0"/>
                          </a:endParaRP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3746867186"/>
                      </a:ext>
                    </a:extLst>
                  </a:tr>
                  <a:tr h="258052"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 typeface="Arial"/>
                            <a:buNone/>
                            <a:tabLst/>
                            <a:defRPr/>
                          </a:pPr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0.2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1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1/5 = 0.2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3246449382"/>
                      </a:ext>
                    </a:extLst>
                  </a:tr>
                  <a:tr h="258052"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 typeface="Arial"/>
                            <a:buNone/>
                            <a:tabLst/>
                            <a:defRPr/>
                          </a:pPr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0.2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0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1/5 = 0.2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3929758652"/>
                      </a:ext>
                    </a:extLst>
                  </a:tr>
                  <a:tr h="258052"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 typeface="Arial"/>
                            <a:buNone/>
                            <a:tabLst/>
                            <a:defRPr/>
                          </a:pPr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…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…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…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152949821"/>
                      </a:ext>
                    </a:extLst>
                  </a:tr>
                  <a:tr h="258052"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 typeface="Arial"/>
                            <a:buNone/>
                            <a:tabLst/>
                            <a:defRPr/>
                          </a:pPr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…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…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…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1178317485"/>
                      </a:ext>
                    </a:extLst>
                  </a:tr>
                  <a:tr h="258052"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 typeface="Arial"/>
                            <a:buNone/>
                            <a:tabLst/>
                            <a:defRPr/>
                          </a:pPr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0.2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0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000" dirty="0">
                              <a:solidFill>
                                <a:schemeClr val="bg2">
                                  <a:lumMod val="75000"/>
                                  <a:lumOff val="25000"/>
                                </a:schemeClr>
                              </a:solidFill>
                              <a:latin typeface="Catamaran" panose="020B0604020202020204" charset="0"/>
                              <a:cs typeface="Catamaran" panose="020B0604020202020204" charset="0"/>
                            </a:rPr>
                            <a:t>1/5 = 0.2</a:t>
                          </a:r>
                        </a:p>
                      </a:txBody>
                      <a:tcPr anchor="ctr">
                        <a:lnL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bg1">
                              <a:lumMod val="95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2695279991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12" name="Google Shape;73;p7">
            <a:extLst>
              <a:ext uri="{FF2B5EF4-FFF2-40B4-BE49-F238E27FC236}">
                <a16:creationId xmlns:a16="http://schemas.microsoft.com/office/drawing/2014/main" id="{8EB718C8-1001-7D6C-7B21-F34B9C6DE28C}"/>
              </a:ext>
            </a:extLst>
          </p:cNvPr>
          <p:cNvSpPr txBox="1"/>
          <p:nvPr/>
        </p:nvSpPr>
        <p:spPr>
          <a:xfrm>
            <a:off x="718566" y="2758066"/>
            <a:ext cx="3683876" cy="113570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r>
              <a:rPr lang="it" sz="1600" b="1" dirty="0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rPr>
              <a:t>But: </a:t>
            </a:r>
          </a:p>
          <a:p>
            <a:pPr marL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rPr>
              <a:t>Most powerful modern algorithms (e.g., SVM, GBM, Random Forests, Logistic Regression ….) are naturally "scoring classifiers". They excel at discrimination (ranking instances) but are often </a:t>
            </a:r>
            <a:r>
              <a:rPr lang="en-US" sz="1200" b="1" dirty="0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rPr>
              <a:t>poorly calibrated</a:t>
            </a:r>
            <a:r>
              <a:rPr lang="en-US" sz="1200" dirty="0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rPr>
              <a:t>.</a:t>
            </a:r>
            <a:endParaRPr lang="en-US" sz="1200" b="1" dirty="0">
              <a:solidFill>
                <a:schemeClr val="accent1"/>
              </a:solidFill>
              <a:latin typeface="Catamaran"/>
              <a:ea typeface="Catamaran"/>
              <a:cs typeface="Catamaran"/>
              <a:sym typeface="Catamaran"/>
            </a:endParaRP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11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/>
              <a:t>30</a:t>
            </a:fld>
            <a:endParaRPr/>
          </a:p>
        </p:txBody>
      </p:sp>
      <p:sp>
        <p:nvSpPr>
          <p:cNvPr id="112" name="Google Shape;112;p11"/>
          <p:cNvSpPr txBox="1">
            <a:spLocks noGrp="1"/>
          </p:cNvSpPr>
          <p:nvPr>
            <p:ph type="subTitle" idx="2"/>
          </p:nvPr>
        </p:nvSpPr>
        <p:spPr>
          <a:xfrm>
            <a:off x="1414800" y="4779100"/>
            <a:ext cx="7284526" cy="3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n-US" dirty="0"/>
              <a:t>Statistical Learning - </a:t>
            </a:r>
            <a:r>
              <a:rPr lang="en-US" sz="900" dirty="0"/>
              <a:t>The Importance of Being Calibrated: A Study on Probability Calibration and Interval Estimation for Binary Classification</a:t>
            </a:r>
          </a:p>
          <a:p>
            <a:pPr marL="0" lvl="0" indent="0" algn="l" rtl="0">
              <a:spcBef>
                <a:spcPts val="1600"/>
              </a:spcBef>
              <a:spcAft>
                <a:spcPts val="1600"/>
              </a:spcAft>
              <a:buNone/>
            </a:pPr>
            <a:endParaRPr dirty="0"/>
          </a:p>
        </p:txBody>
      </p:sp>
      <p:sp>
        <p:nvSpPr>
          <p:cNvPr id="115" name="Google Shape;115;p11"/>
          <p:cNvSpPr txBox="1">
            <a:spLocks noGrp="1"/>
          </p:cNvSpPr>
          <p:nvPr>
            <p:ph type="body" idx="1"/>
          </p:nvPr>
        </p:nvSpPr>
        <p:spPr>
          <a:xfrm>
            <a:off x="683202" y="1096983"/>
            <a:ext cx="7853100" cy="294953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000" dirty="0"/>
              <a:t>Dataset - </a:t>
            </a:r>
            <a:r>
              <a:rPr lang="en-US" sz="1000" dirty="0">
                <a:hlinkClick r:id="rId3"/>
              </a:rPr>
              <a:t>https://www.kaggle.com/datasets/laotse/credit-risk-dataset</a:t>
            </a:r>
            <a:endParaRPr lang="en-US" sz="1000" dirty="0"/>
          </a:p>
          <a:p>
            <a:pPr marL="285750" indent="-28575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000" dirty="0"/>
              <a:t>Vovk, Vladimir, Ivan </a:t>
            </a:r>
            <a:r>
              <a:rPr lang="en-US" sz="1000" dirty="0" err="1"/>
              <a:t>Petej</a:t>
            </a:r>
            <a:r>
              <a:rPr lang="en-US" sz="1000" dirty="0"/>
              <a:t>. "Venn-</a:t>
            </a:r>
            <a:r>
              <a:rPr lang="en-US" sz="1000" dirty="0" err="1"/>
              <a:t>Abers</a:t>
            </a:r>
            <a:r>
              <a:rPr lang="en-US" sz="1000" dirty="0"/>
              <a:t> predictors". Proceedings of the Thirtieth Conference on Uncertainty in Artificial Intelligence (2014) (</a:t>
            </a:r>
            <a:r>
              <a:rPr lang="en-US" sz="1000" dirty="0" err="1"/>
              <a:t>arxiv</a:t>
            </a:r>
            <a:r>
              <a:rPr lang="en-US" sz="1000" dirty="0"/>
              <a:t> version </a:t>
            </a:r>
            <a:r>
              <a:rPr lang="en-US" sz="1000" dirty="0">
                <a:hlinkClick r:id="rId4"/>
              </a:rPr>
              <a:t>https://arxiv.org/pdf/1211.0025</a:t>
            </a:r>
            <a:r>
              <a:rPr lang="en-US" sz="1000" dirty="0"/>
              <a:t>)</a:t>
            </a:r>
          </a:p>
          <a:p>
            <a:pPr marL="285750" indent="-28575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000" dirty="0"/>
              <a:t>Vovk, Vladimir, Ivan </a:t>
            </a:r>
            <a:r>
              <a:rPr lang="en-US" sz="1000" dirty="0" err="1"/>
              <a:t>Petej</a:t>
            </a:r>
            <a:r>
              <a:rPr lang="en-US" sz="1000" dirty="0"/>
              <a:t> and Valentina Fedorova. "Large-scale probabilistic predictors with and without guarantees of validity." Advances in Neural Information Processing Systems 28 (2015) (</a:t>
            </a:r>
            <a:r>
              <a:rPr lang="en-US" sz="1000" dirty="0" err="1"/>
              <a:t>arxiv</a:t>
            </a:r>
            <a:r>
              <a:rPr lang="en-US" sz="1000" dirty="0"/>
              <a:t> version </a:t>
            </a:r>
            <a:r>
              <a:rPr lang="en-US" sz="1000" dirty="0">
                <a:hlinkClick r:id="rId5"/>
              </a:rPr>
              <a:t>https://arxiv.org/pdf/1511.00213)</a:t>
            </a:r>
            <a:endParaRPr lang="en-US" sz="1000" dirty="0"/>
          </a:p>
          <a:p>
            <a:pPr marL="285750" indent="-28575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000" dirty="0"/>
              <a:t>Model Calibration, Explained- </a:t>
            </a:r>
            <a:r>
              <a:rPr lang="en-US" sz="1000" dirty="0">
                <a:hlinkClick r:id="rId6"/>
              </a:rPr>
              <a:t>https://towardsdatascience.com/model-calibration-explained-a-visual-guide-with-code-examples-for-beginners-55f368bafe72/</a:t>
            </a:r>
            <a:endParaRPr lang="en-US" sz="1000" dirty="0"/>
          </a:p>
          <a:p>
            <a:pPr marL="285750" indent="-28575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000" dirty="0">
                <a:sym typeface="Arial"/>
              </a:rPr>
              <a:t>Venn-</a:t>
            </a:r>
            <a:r>
              <a:rPr lang="en-US" sz="1000" dirty="0" err="1">
                <a:sym typeface="Arial"/>
              </a:rPr>
              <a:t>Abers</a:t>
            </a:r>
            <a:r>
              <a:rPr lang="en-US" sz="1000" dirty="0">
                <a:sym typeface="Arial"/>
              </a:rPr>
              <a:t> implementation - </a:t>
            </a:r>
            <a:r>
              <a:rPr lang="en-US" sz="1000" dirty="0">
                <a:sym typeface="Arial"/>
                <a:hlinkClick r:id="rId7"/>
              </a:rPr>
              <a:t>https://github.com/ip200/venn-abers</a:t>
            </a:r>
            <a:endParaRPr lang="en-US" sz="1000" dirty="0">
              <a:sym typeface="Arial"/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F395BF9E-034F-FCC9-FD2C-4B96A9FD2105}"/>
              </a:ext>
            </a:extLst>
          </p:cNvPr>
          <p:cNvSpPr/>
          <p:nvPr/>
        </p:nvSpPr>
        <p:spPr>
          <a:xfrm>
            <a:off x="472339" y="58549"/>
            <a:ext cx="407676" cy="383512"/>
          </a:xfrm>
          <a:prstGeom prst="ellipse">
            <a:avLst/>
          </a:prstGeom>
          <a:solidFill>
            <a:srgbClr val="AD0505"/>
          </a:solidFill>
          <a:ln>
            <a:solidFill>
              <a:srgbClr val="AD050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Google Shape;70;p7">
            <a:extLst>
              <a:ext uri="{FF2B5EF4-FFF2-40B4-BE49-F238E27FC236}">
                <a16:creationId xmlns:a16="http://schemas.microsoft.com/office/drawing/2014/main" id="{EA8C82BD-3023-ABCF-3D9F-ED49D188AB14}"/>
              </a:ext>
            </a:extLst>
          </p:cNvPr>
          <p:cNvSpPr txBox="1">
            <a:spLocks/>
          </p:cNvSpPr>
          <p:nvPr/>
        </p:nvSpPr>
        <p:spPr>
          <a:xfrm>
            <a:off x="558092" y="58549"/>
            <a:ext cx="7688700" cy="53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Catamaran"/>
              <a:buNone/>
              <a:defRPr sz="2600" b="1" i="0" u="none" strike="noStrike" cap="none">
                <a:solidFill>
                  <a:schemeClr val="dk2"/>
                </a:solidFill>
                <a:latin typeface="Catamaran"/>
                <a:ea typeface="Catamaran"/>
                <a:cs typeface="Catamaran"/>
                <a:sym typeface="Catamara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r>
              <a:rPr lang="en-US" sz="1600" dirty="0"/>
              <a:t>References</a:t>
            </a:r>
          </a:p>
        </p:txBody>
      </p:sp>
    </p:spTree>
    <p:extLst>
      <p:ext uri="{BB962C8B-B14F-4D97-AF65-F5344CB8AC3E}">
        <p14:creationId xmlns:p14="http://schemas.microsoft.com/office/powerpoint/2010/main" val="57163356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12"/>
          <p:cNvSpPr txBox="1">
            <a:spLocks noGrp="1"/>
          </p:cNvSpPr>
          <p:nvPr>
            <p:ph type="ctrTitle"/>
          </p:nvPr>
        </p:nvSpPr>
        <p:spPr>
          <a:xfrm>
            <a:off x="729450" y="1322450"/>
            <a:ext cx="7688100" cy="767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it"/>
              <a:t>Thank you for the attention!</a:t>
            </a:r>
            <a:endParaRPr/>
          </a:p>
        </p:txBody>
      </p:sp>
      <p:sp>
        <p:nvSpPr>
          <p:cNvPr id="123" name="Google Shape;123;p12"/>
          <p:cNvSpPr txBox="1"/>
          <p:nvPr/>
        </p:nvSpPr>
        <p:spPr>
          <a:xfrm>
            <a:off x="3959625" y="4493900"/>
            <a:ext cx="1507500" cy="4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it" sz="1300" dirty="0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rPr>
              <a:t>Sep 2025</a:t>
            </a:r>
            <a:endParaRPr sz="1300" dirty="0">
              <a:solidFill>
                <a:schemeClr val="accent1"/>
              </a:solidFill>
              <a:latin typeface="Catamaran"/>
              <a:ea typeface="Catamaran"/>
              <a:cs typeface="Catamaran"/>
              <a:sym typeface="Catamaran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7"/>
          <p:cNvSpPr txBox="1">
            <a:spLocks noGrp="1"/>
          </p:cNvSpPr>
          <p:nvPr>
            <p:ph type="title"/>
          </p:nvPr>
        </p:nvSpPr>
        <p:spPr>
          <a:xfrm>
            <a:off x="836507" y="2036550"/>
            <a:ext cx="2632407" cy="53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it" dirty="0"/>
              <a:t>Agenda</a:t>
            </a:r>
            <a:endParaRPr dirty="0"/>
          </a:p>
        </p:txBody>
      </p:sp>
      <p:sp>
        <p:nvSpPr>
          <p:cNvPr id="71" name="Google Shape;71;p7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/>
              <a:t>4</a:t>
            </a:fld>
            <a:endParaRPr/>
          </a:p>
        </p:txBody>
      </p:sp>
      <p:sp>
        <p:nvSpPr>
          <p:cNvPr id="72" name="Google Shape;72;p7"/>
          <p:cNvSpPr txBox="1">
            <a:spLocks noGrp="1"/>
          </p:cNvSpPr>
          <p:nvPr>
            <p:ph type="subTitle" idx="2"/>
          </p:nvPr>
        </p:nvSpPr>
        <p:spPr>
          <a:xfrm>
            <a:off x="1414800" y="4765182"/>
            <a:ext cx="7001550" cy="36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it" dirty="0"/>
              <a:t>Statistical Learning - </a:t>
            </a:r>
            <a:r>
              <a:rPr lang="en-US" sz="900" dirty="0"/>
              <a:t>The Importance of Being Calibrated: A Study on Probability Calibration and Interval Estimation for Binary Classification</a:t>
            </a:r>
            <a:endParaRPr sz="900" dirty="0"/>
          </a:p>
        </p:txBody>
      </p:sp>
      <p:pic>
        <p:nvPicPr>
          <p:cNvPr id="3" name="Picture 2" descr="A credit score gauge with a needle and a needle&#10;&#10;Description automatically generated with medium confidence">
            <a:extLst>
              <a:ext uri="{FF2B5EF4-FFF2-40B4-BE49-F238E27FC236}">
                <a16:creationId xmlns:a16="http://schemas.microsoft.com/office/drawing/2014/main" id="{9FCF091F-D737-673B-5DF8-C50E86D44B9B}"/>
              </a:ext>
            </a:extLst>
          </p:cNvPr>
          <p:cNvPicPr>
            <a:picLocks noChangeAspect="1"/>
          </p:cNvPicPr>
          <p:nvPr/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030" y="1838522"/>
            <a:ext cx="3875320" cy="217855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8C92F66-DD98-00C1-7C0B-03704970C3A5}"/>
              </a:ext>
            </a:extLst>
          </p:cNvPr>
          <p:cNvSpPr/>
          <p:nvPr/>
        </p:nvSpPr>
        <p:spPr>
          <a:xfrm>
            <a:off x="4215460" y="501992"/>
            <a:ext cx="4869542" cy="4307386"/>
          </a:xfrm>
          <a:prstGeom prst="rect">
            <a:avLst/>
          </a:prstGeom>
          <a:solidFill>
            <a:schemeClr val="bg2">
              <a:lumMod val="50000"/>
              <a:lumOff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A9F4115F-1744-27F1-D226-BAC0AD24BF02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4528427" y="865226"/>
            <a:ext cx="4383753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Introduction &amp; Motivation: Can We Trust a Model's Confidence?</a:t>
            </a:r>
            <a:endParaRPr lang="en-US" sz="1200" b="1" dirty="0">
              <a:solidFill>
                <a:schemeClr val="tx2"/>
              </a:solidFill>
              <a:latin typeface="Catamaran" panose="020B0604020202020204" charset="0"/>
              <a:cs typeface="Catamaran" panose="020B0604020202020204" charset="0"/>
            </a:endParaRPr>
          </a:p>
        </p:txBody>
      </p:sp>
      <p:sp>
        <p:nvSpPr>
          <p:cNvPr id="9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5F05BD8C-75CB-F6C3-0243-14FC44DD4137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4528427" y="1251873"/>
            <a:ext cx="3771900" cy="342900"/>
          </a:xfrm>
          <a:prstGeom prst="rect">
            <a:avLst/>
          </a:prstGeom>
          <a:solidFill>
            <a:srgbClr val="AD0505"/>
          </a:solidFill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1200" b="1" kern="1200" dirty="0">
                <a:solidFill>
                  <a:schemeClr val="bg1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Accuracy is Not Enough: Discrimination vs. Calibration</a:t>
            </a:r>
          </a:p>
        </p:txBody>
      </p:sp>
      <p:sp>
        <p:nvSpPr>
          <p:cNvPr id="10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123AAC5C-157B-3B55-1942-784B8E41094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4541030" y="1576677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Calibration Methods: Platt, Isotonic, and Venn-</a:t>
            </a:r>
            <a:r>
              <a:rPr lang="en-US" sz="1200" b="1" dirty="0" err="1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Abers</a:t>
            </a:r>
            <a:endParaRPr lang="en-US" sz="1200" b="1" dirty="0">
              <a:solidFill>
                <a:schemeClr val="tx2"/>
              </a:solidFill>
              <a:latin typeface="Catamaran" panose="020B0604020202020204" charset="0"/>
              <a:cs typeface="Catamaran" panose="020B0604020202020204" charset="0"/>
            </a:endParaRPr>
          </a:p>
        </p:txBody>
      </p:sp>
      <p:sp>
        <p:nvSpPr>
          <p:cNvPr id="11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B1D71953-C189-D7AC-2058-78E041D15A4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541030" y="1895304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Our Dataset &amp; Experimental Setup</a:t>
            </a:r>
          </a:p>
        </p:txBody>
      </p:sp>
      <p:sp>
        <p:nvSpPr>
          <p:cNvPr id="2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B9483475-6B13-5D88-E5DA-364A402874D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541030" y="2195584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Credit Risk Data Preparation</a:t>
            </a:r>
          </a:p>
        </p:txBody>
      </p:sp>
      <p:sp>
        <p:nvSpPr>
          <p:cNvPr id="5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4D24E2A4-6D94-D815-011C-BAA1A62F5CE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571999" y="2549209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Results on Credit Risk Data: Accuracy vs. Calibration</a:t>
            </a:r>
          </a:p>
        </p:txBody>
      </p:sp>
      <p:sp>
        <p:nvSpPr>
          <p:cNvPr id="6" name="Text Placeholder 4">
            <a:hlinkClick r:id="rId16" action="ppaction://hlinksldjump"/>
            <a:extLst>
              <a:ext uri="{FF2B5EF4-FFF2-40B4-BE49-F238E27FC236}">
                <a16:creationId xmlns:a16="http://schemas.microsoft.com/office/drawing/2014/main" id="{C2B4952A-8A57-D05F-3B50-2CEFE72A6D9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571999" y="2867988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Simulated Data Generation</a:t>
            </a:r>
          </a:p>
        </p:txBody>
      </p:sp>
      <p:sp>
        <p:nvSpPr>
          <p:cNvPr id="7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EA41B23B-5539-B73B-D142-61DFF193CB5C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571999" y="3203114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Results on Simulated Data</a:t>
            </a:r>
          </a:p>
        </p:txBody>
      </p:sp>
      <p:sp>
        <p:nvSpPr>
          <p:cNvPr id="12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325B2701-BD25-5A24-828A-83B799D3CA3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571999" y="3523363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Probability Intervals: Bootstrap vs. Venn-</a:t>
            </a:r>
            <a:r>
              <a:rPr lang="en-US" sz="1200" b="1" kern="1200" dirty="0" err="1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Abers</a:t>
            </a:r>
            <a:endParaRPr lang="en-US" sz="1200" b="1" kern="1200" dirty="0">
              <a:solidFill>
                <a:schemeClr val="tx2"/>
              </a:solidFill>
              <a:latin typeface="Catamaran" panose="020B0604020202020204" charset="0"/>
              <a:ea typeface="+mn-ea"/>
              <a:cs typeface="Catamaran" panose="020B0604020202020204" charset="0"/>
            </a:endParaRPr>
          </a:p>
        </p:txBody>
      </p:sp>
      <p:sp>
        <p:nvSpPr>
          <p:cNvPr id="13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F01DA9CA-794C-F524-1E5D-32A8A79BE53E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571999" y="4111396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References</a:t>
            </a:r>
          </a:p>
        </p:txBody>
      </p:sp>
      <p:sp>
        <p:nvSpPr>
          <p:cNvPr id="14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22F063E4-4560-D8D6-F089-D6DE28E564A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571999" y="3824320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Conclusion &amp; Key Takeaways</a:t>
            </a:r>
          </a:p>
        </p:txBody>
      </p:sp>
    </p:spTree>
    <p:extLst>
      <p:ext uri="{BB962C8B-B14F-4D97-AF65-F5344CB8AC3E}">
        <p14:creationId xmlns:p14="http://schemas.microsoft.com/office/powerpoint/2010/main" val="12803136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8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/>
              <a:t>5</a:t>
            </a:fld>
            <a:endParaRPr/>
          </a:p>
        </p:txBody>
      </p:sp>
      <p:sp>
        <p:nvSpPr>
          <p:cNvPr id="81" name="Google Shape;81;p8"/>
          <p:cNvSpPr txBox="1">
            <a:spLocks noGrp="1"/>
          </p:cNvSpPr>
          <p:nvPr>
            <p:ph type="subTitle" idx="2"/>
          </p:nvPr>
        </p:nvSpPr>
        <p:spPr>
          <a:xfrm>
            <a:off x="1475192" y="4735891"/>
            <a:ext cx="6867142" cy="3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n-US" dirty="0"/>
              <a:t>Statistical Learning - </a:t>
            </a:r>
            <a:r>
              <a:rPr lang="en-US" sz="900" dirty="0"/>
              <a:t>The Importance of Being Calibrated: A Study on Probability Calibration and Interval Estimation for Binary Classification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AC5BB27-14A7-88CF-E4E3-D6491A4AA4DD}"/>
              </a:ext>
            </a:extLst>
          </p:cNvPr>
          <p:cNvSpPr/>
          <p:nvPr/>
        </p:nvSpPr>
        <p:spPr>
          <a:xfrm>
            <a:off x="472339" y="58549"/>
            <a:ext cx="407676" cy="383512"/>
          </a:xfrm>
          <a:prstGeom prst="ellipse">
            <a:avLst/>
          </a:prstGeom>
          <a:solidFill>
            <a:srgbClr val="AD0505"/>
          </a:solidFill>
          <a:ln>
            <a:solidFill>
              <a:srgbClr val="AD050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Google Shape;70;p7">
            <a:extLst>
              <a:ext uri="{FF2B5EF4-FFF2-40B4-BE49-F238E27FC236}">
                <a16:creationId xmlns:a16="http://schemas.microsoft.com/office/drawing/2014/main" id="{D607F83E-7AE6-01B2-59EE-5D59597FCE9D}"/>
              </a:ext>
            </a:extLst>
          </p:cNvPr>
          <p:cNvSpPr txBox="1">
            <a:spLocks/>
          </p:cNvSpPr>
          <p:nvPr/>
        </p:nvSpPr>
        <p:spPr>
          <a:xfrm>
            <a:off x="558092" y="58549"/>
            <a:ext cx="7688700" cy="53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Catamaran"/>
              <a:buNone/>
              <a:defRPr sz="2600" b="1" i="0" u="none" strike="noStrike" cap="none">
                <a:solidFill>
                  <a:schemeClr val="dk2"/>
                </a:solidFill>
                <a:latin typeface="Catamaran"/>
                <a:ea typeface="Catamaran"/>
                <a:cs typeface="Catamaran"/>
                <a:sym typeface="Catamara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r>
              <a:rPr lang="en-US" sz="1600" dirty="0"/>
              <a:t>Accuracy is Not Enough: Discrimination vs. Calibration</a:t>
            </a:r>
          </a:p>
        </p:txBody>
      </p:sp>
      <p:sp>
        <p:nvSpPr>
          <p:cNvPr id="10" name="Google Shape;73;p7">
            <a:extLst>
              <a:ext uri="{FF2B5EF4-FFF2-40B4-BE49-F238E27FC236}">
                <a16:creationId xmlns:a16="http://schemas.microsoft.com/office/drawing/2014/main" id="{F28DBCF6-BA82-3320-A3AA-D0A0AE53C41F}"/>
              </a:ext>
            </a:extLst>
          </p:cNvPr>
          <p:cNvSpPr txBox="1"/>
          <p:nvPr/>
        </p:nvSpPr>
        <p:spPr>
          <a:xfrm>
            <a:off x="830596" y="961399"/>
            <a:ext cx="3935184" cy="163636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rPr>
              <a:t>Discrimination vs Calibration:</a:t>
            </a:r>
          </a:p>
          <a:p>
            <a:pPr marL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endParaRPr lang="en-US" sz="1600" b="1" dirty="0">
              <a:solidFill>
                <a:schemeClr val="accent1"/>
              </a:solidFill>
              <a:latin typeface="Catamaran"/>
              <a:ea typeface="Catamaran"/>
              <a:cs typeface="Catamaran"/>
              <a:sym typeface="Catamaran"/>
            </a:endParaRPr>
          </a:p>
          <a:p>
            <a:pPr marL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rPr>
              <a:t>Two models that are equally accurate (70% correct) show different levels of confidence in their predictions. </a:t>
            </a:r>
            <a:r>
              <a:rPr lang="en-US" sz="1200" b="1" dirty="0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rPr>
              <a:t>Model A</a:t>
            </a:r>
            <a:r>
              <a:rPr lang="en-US" sz="1200" dirty="0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rPr>
              <a:t> uses </a:t>
            </a:r>
            <a:r>
              <a:rPr lang="en-US" sz="1200" b="1" i="1" dirty="0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rPr>
              <a:t>well-calibrated</a:t>
            </a:r>
            <a:r>
              <a:rPr lang="en-US" sz="1200" dirty="0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rPr>
              <a:t> probabilities while </a:t>
            </a:r>
            <a:r>
              <a:rPr lang="en-US" sz="1200" b="1" dirty="0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rPr>
              <a:t>Model B </a:t>
            </a:r>
            <a:r>
              <a:rPr lang="en-US" sz="1200" dirty="0">
                <a:solidFill>
                  <a:schemeClr val="accent1"/>
                </a:solidFill>
                <a:latin typeface="Catamaran"/>
                <a:ea typeface="Catamaran"/>
                <a:cs typeface="Catamaran"/>
                <a:sym typeface="Catamaran"/>
              </a:rPr>
              <a:t>only uses extreme probabilities.</a:t>
            </a:r>
            <a:endParaRPr lang="en-US" sz="1300" dirty="0">
              <a:solidFill>
                <a:schemeClr val="accent1"/>
              </a:solidFill>
              <a:latin typeface="Catamaran"/>
              <a:ea typeface="Catamaran"/>
              <a:cs typeface="Catamaran"/>
              <a:sym typeface="Catamaran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B579DF1-EE9C-69BF-FE7B-F178CCF79D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7810" y="593749"/>
            <a:ext cx="2859592" cy="3774492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2" name="Google Shape;73;p7">
                <a:extLst>
                  <a:ext uri="{FF2B5EF4-FFF2-40B4-BE49-F238E27FC236}">
                    <a16:creationId xmlns:a16="http://schemas.microsoft.com/office/drawing/2014/main" id="{2C2653AC-E555-DE82-9BA6-D14355F1982B}"/>
                  </a:ext>
                </a:extLst>
              </p:cNvPr>
              <p:cNvSpPr txBox="1"/>
              <p:nvPr/>
            </p:nvSpPr>
            <p:spPr>
              <a:xfrm>
                <a:off x="830596" y="2965416"/>
                <a:ext cx="3935184" cy="1691363"/>
              </a:xfrm>
              <a:prstGeom prst="rect">
                <a:avLst/>
              </a:prstGeom>
              <a:noFill/>
              <a:ln>
                <a:solidFill>
                  <a:srgbClr val="C00000"/>
                </a:solidFill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0" lvl="0" indent="0" algn="just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300" b="1" dirty="0">
                    <a:solidFill>
                      <a:schemeClr val="accent1"/>
                    </a:solidFill>
                    <a:latin typeface="Catamaran" panose="020B0604020202020204" charset="0"/>
                    <a:ea typeface="Cambria Math" panose="02040503050406030204" pitchFamily="18" charset="0"/>
                    <a:cs typeface="Catamaran" panose="020B0604020202020204" charset="0"/>
                    <a:sym typeface="Catamaran"/>
                  </a:rPr>
                  <a:t>Formal Definition:</a:t>
                </a:r>
              </a:p>
              <a:p>
                <a:pPr marL="0" lvl="0" indent="0" algn="just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sz="1300" b="1" dirty="0">
                  <a:solidFill>
                    <a:schemeClr val="accent1"/>
                  </a:solidFill>
                  <a:latin typeface="Catamaran" panose="020B0604020202020204" charset="0"/>
                  <a:ea typeface="Cambria Math" panose="02040503050406030204" pitchFamily="18" charset="0"/>
                  <a:cs typeface="Catamaran" panose="020B0604020202020204" charset="0"/>
                  <a:sym typeface="Catamaran"/>
                </a:endParaRPr>
              </a:p>
              <a:p>
                <a:pPr marL="0" lvl="0" indent="0" algn="just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200" dirty="0">
                    <a:solidFill>
                      <a:schemeClr val="accent1"/>
                    </a:solidFill>
                    <a:latin typeface="Catamaran" panose="020B0604020202020204" charset="0"/>
                    <a:ea typeface="Cambria Math" panose="02040503050406030204" pitchFamily="18" charset="0"/>
                    <a:cs typeface="Catamaran" panose="020B0604020202020204" charset="0"/>
                    <a:sym typeface="Catamaran"/>
                  </a:rPr>
                  <a:t>A random variable </a:t>
                </a:r>
                <a14:m>
                  <m:oMath xmlns:m="http://schemas.openxmlformats.org/officeDocument/2006/math">
                    <m:r>
                      <a:rPr lang="en-US" sz="1200" b="1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Catamaran" panose="020B0604020202020204" charset="0"/>
                        <a:sym typeface="Catamaran"/>
                      </a:rPr>
                      <m:t>𝑷</m:t>
                    </m:r>
                  </m:oMath>
                </a14:m>
                <a:r>
                  <a:rPr lang="en-US" sz="1200" dirty="0">
                    <a:solidFill>
                      <a:schemeClr val="accent1"/>
                    </a:solidFill>
                    <a:latin typeface="Catamaran" panose="020B0604020202020204" charset="0"/>
                    <a:ea typeface="Cambria Math" panose="02040503050406030204" pitchFamily="18" charset="0"/>
                    <a:cs typeface="Catamaran" panose="020B0604020202020204" charset="0"/>
                    <a:sym typeface="Catamaran"/>
                  </a:rPr>
                  <a:t> taking values in </a:t>
                </a:r>
                <a14:m>
                  <m:oMath xmlns:m="http://schemas.openxmlformats.org/officeDocument/2006/math">
                    <m:r>
                      <a:rPr lang="en-US" sz="1200" b="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Catamaran" panose="020B0604020202020204" charset="0"/>
                        <a:sym typeface="Catamaran"/>
                      </a:rPr>
                      <m:t>[0, 1] </m:t>
                    </m:r>
                  </m:oMath>
                </a14:m>
                <a:r>
                  <a:rPr lang="en-US" sz="1200" dirty="0">
                    <a:solidFill>
                      <a:schemeClr val="accent1"/>
                    </a:solidFill>
                    <a:latin typeface="Catamaran" panose="020B0604020202020204" charset="0"/>
                    <a:ea typeface="Cambria Math" panose="02040503050406030204" pitchFamily="18" charset="0"/>
                    <a:cs typeface="Catamaran" panose="020B0604020202020204" charset="0"/>
                    <a:sym typeface="Catamaran"/>
                  </a:rPr>
                  <a:t>is </a:t>
                </a:r>
                <a:r>
                  <a:rPr lang="en-US" sz="1200" b="1" i="1" dirty="0">
                    <a:solidFill>
                      <a:schemeClr val="accent1"/>
                    </a:solidFill>
                    <a:latin typeface="Catamaran" panose="020B0604020202020204" charset="0"/>
                    <a:ea typeface="Cambria Math" panose="02040503050406030204" pitchFamily="18" charset="0"/>
                    <a:cs typeface="Catamaran" panose="020B0604020202020204" charset="0"/>
                    <a:sym typeface="Catamaran"/>
                  </a:rPr>
                  <a:t>well-calibrated</a:t>
                </a:r>
                <a:r>
                  <a:rPr lang="en-US" sz="1200" dirty="0">
                    <a:solidFill>
                      <a:schemeClr val="accent1"/>
                    </a:solidFill>
                    <a:latin typeface="Catamaran" panose="020B0604020202020204" charset="0"/>
                    <a:ea typeface="Cambria Math" panose="02040503050406030204" pitchFamily="18" charset="0"/>
                    <a:cs typeface="Catamaran" panose="020B0604020202020204" charset="0"/>
                    <a:sym typeface="Catamaran"/>
                  </a:rPr>
                  <a:t>  for a random variable </a:t>
                </a:r>
                <a14:m>
                  <m:oMath xmlns:m="http://schemas.openxmlformats.org/officeDocument/2006/math">
                    <m:r>
                      <a:rPr lang="en-US" sz="1200" b="1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Catamaran" panose="020B0604020202020204" charset="0"/>
                        <a:sym typeface="Catamaran"/>
                      </a:rPr>
                      <m:t>𝒀</m:t>
                    </m:r>
                  </m:oMath>
                </a14:m>
                <a:r>
                  <a:rPr lang="en-US" sz="1200" dirty="0">
                    <a:solidFill>
                      <a:schemeClr val="accent1"/>
                    </a:solidFill>
                    <a:latin typeface="Catamaran" panose="020B0604020202020204" charset="0"/>
                    <a:ea typeface="Cambria Math" panose="02040503050406030204" pitchFamily="18" charset="0"/>
                    <a:cs typeface="Catamaran" panose="020B0604020202020204" charset="0"/>
                    <a:sym typeface="Catamaran"/>
                  </a:rPr>
                  <a:t> taking values in </a:t>
                </a:r>
                <a14:m>
                  <m:oMath xmlns:m="http://schemas.openxmlformats.org/officeDocument/2006/math">
                    <m:r>
                      <a:rPr lang="en-US" sz="1200" b="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Catamaran" panose="020B0604020202020204" charset="0"/>
                        <a:sym typeface="Catamaran"/>
                      </a:rPr>
                      <m:t>{0, 1}</m:t>
                    </m:r>
                  </m:oMath>
                </a14:m>
                <a:r>
                  <a:rPr lang="en-US" sz="1200" dirty="0">
                    <a:solidFill>
                      <a:schemeClr val="accent1"/>
                    </a:solidFill>
                    <a:latin typeface="Catamaran" panose="020B0604020202020204" charset="0"/>
                    <a:ea typeface="Cambria Math" panose="02040503050406030204" pitchFamily="18" charset="0"/>
                    <a:cs typeface="Catamaran" panose="020B0604020202020204" charset="0"/>
                    <a:sym typeface="Catamaran"/>
                  </a:rPr>
                  <a:t> if</a:t>
                </a:r>
              </a:p>
              <a:p>
                <a:pPr marL="0" lvl="0" indent="0" algn="just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sz="1200" dirty="0">
                  <a:solidFill>
                    <a:schemeClr val="accent1"/>
                  </a:solidFill>
                  <a:latin typeface="Catamaran" panose="020B0604020202020204" charset="0"/>
                  <a:ea typeface="Cambria Math" panose="02040503050406030204" pitchFamily="18" charset="0"/>
                  <a:cs typeface="Catamaran" panose="020B0604020202020204" charset="0"/>
                  <a:sym typeface="Catamaran"/>
                </a:endParaRPr>
              </a:p>
              <a:p>
                <a:pPr marL="0" lvl="0" indent="0" algn="just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200" b="1" i="1" smtClean="0">
                          <a:solidFill>
                            <a:schemeClr val="accent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Catamaran"/>
                          <a:sym typeface="Catamaran"/>
                        </a:rPr>
                        <m:t>𝔼</m:t>
                      </m:r>
                      <m:d>
                        <m:dPr>
                          <m:endChr m:val="|"/>
                          <m:ctrlPr>
                            <a:rPr lang="en-US" sz="1200" b="1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Catamaran"/>
                              <a:sym typeface="Catamaran"/>
                            </a:rPr>
                          </m:ctrlPr>
                        </m:dPr>
                        <m:e>
                          <m:r>
                            <a:rPr lang="en-US" sz="1200" b="1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Catamaran"/>
                              <a:sym typeface="Catamaran"/>
                            </a:rPr>
                            <m:t>𝒀</m:t>
                          </m:r>
                          <m:r>
                            <a:rPr lang="en-US" sz="1200" b="1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Catamaran"/>
                              <a:sym typeface="Catamaran"/>
                            </a:rPr>
                            <m:t> </m:t>
                          </m:r>
                        </m:e>
                      </m:d>
                      <m:r>
                        <a:rPr lang="en-US" sz="1200" b="1" i="1" smtClean="0">
                          <a:solidFill>
                            <a:schemeClr val="accent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Catamaran"/>
                          <a:sym typeface="Catamaran"/>
                        </a:rPr>
                        <m:t> </m:t>
                      </m:r>
                      <m:r>
                        <a:rPr lang="en-US" sz="1200" b="1" i="1" smtClean="0">
                          <a:solidFill>
                            <a:schemeClr val="accent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Catamaran"/>
                          <a:sym typeface="Catamaran"/>
                        </a:rPr>
                        <m:t>𝑷</m:t>
                      </m:r>
                      <m:r>
                        <a:rPr lang="en-US" sz="1200" b="1" i="1" smtClean="0">
                          <a:solidFill>
                            <a:schemeClr val="accent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Catamaran"/>
                          <a:sym typeface="Catamaran"/>
                        </a:rPr>
                        <m:t>) ≈</m:t>
                      </m:r>
                      <m:r>
                        <a:rPr lang="en-US" sz="1200" b="1" i="1" smtClean="0">
                          <a:solidFill>
                            <a:schemeClr val="accent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Catamaran"/>
                          <a:sym typeface="Catamaran"/>
                        </a:rPr>
                        <m:t>𝑷</m:t>
                      </m:r>
                    </m:oMath>
                  </m:oMathPara>
                </a14:m>
                <a:endParaRPr lang="en-US" sz="1200" b="1" dirty="0">
                  <a:solidFill>
                    <a:schemeClr val="accent1"/>
                  </a:solidFill>
                  <a:latin typeface="Catamaran"/>
                  <a:ea typeface="Catamaran"/>
                  <a:cs typeface="Catamaran"/>
                  <a:sym typeface="Catamaran"/>
                </a:endParaRPr>
              </a:p>
              <a:p>
                <a:pPr marL="0" lvl="0" indent="0" algn="just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sz="1200" b="1" dirty="0">
                  <a:solidFill>
                    <a:schemeClr val="accent1"/>
                  </a:solidFill>
                  <a:latin typeface="Catamaran"/>
                  <a:ea typeface="Catamaran"/>
                  <a:cs typeface="Catamaran"/>
                  <a:sym typeface="Catamaran"/>
                </a:endParaRPr>
              </a:p>
              <a:p>
                <a:pPr marL="0" lvl="0" indent="0" algn="just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14:m>
                  <m:oMath xmlns:m="http://schemas.openxmlformats.org/officeDocument/2006/math">
                    <m:r>
                      <a:rPr lang="en-US" sz="1200" b="1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Catamaran"/>
                        <a:cs typeface="Catamaran"/>
                        <a:sym typeface="Catamaran"/>
                      </a:rPr>
                      <m:t>𝑷</m:t>
                    </m:r>
                    <m:r>
                      <a:rPr lang="en-US" sz="120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Catamaran"/>
                        <a:cs typeface="Catamaran"/>
                        <a:sym typeface="Catamaran"/>
                      </a:rPr>
                      <m:t> </m:t>
                    </m:r>
                  </m:oMath>
                </a14:m>
                <a:r>
                  <a:rPr lang="en-US" sz="1200" dirty="0">
                    <a:solidFill>
                      <a:schemeClr val="accent1"/>
                    </a:solidFill>
                    <a:latin typeface="Catamaran"/>
                    <a:ea typeface="Catamaran"/>
                    <a:cs typeface="Catamaran"/>
                    <a:sym typeface="Catamaran"/>
                  </a:rPr>
                  <a:t>is the prediction made by a probabilistic predictor for </a:t>
                </a:r>
                <a14:m>
                  <m:oMath xmlns:m="http://schemas.openxmlformats.org/officeDocument/2006/math">
                    <m:r>
                      <a:rPr lang="en-US" sz="1200" b="1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Catamaran"/>
                        <a:cs typeface="Catamaran"/>
                        <a:sym typeface="Catamaran"/>
                      </a:rPr>
                      <m:t>𝒀</m:t>
                    </m:r>
                  </m:oMath>
                </a14:m>
                <a:endParaRPr lang="en-US" sz="1200" b="1" dirty="0">
                  <a:solidFill>
                    <a:schemeClr val="accent1"/>
                  </a:solidFill>
                  <a:latin typeface="Catamaran"/>
                  <a:ea typeface="Catamaran"/>
                  <a:cs typeface="Catamaran"/>
                  <a:sym typeface="Catamaran"/>
                </a:endParaRPr>
              </a:p>
            </p:txBody>
          </p:sp>
        </mc:Choice>
        <mc:Fallback xmlns="">
          <p:sp>
            <p:nvSpPr>
              <p:cNvPr id="12" name="Google Shape;73;p7">
                <a:extLst>
                  <a:ext uri="{FF2B5EF4-FFF2-40B4-BE49-F238E27FC236}">
                    <a16:creationId xmlns:a16="http://schemas.microsoft.com/office/drawing/2014/main" id="{2C2653AC-E555-DE82-9BA6-D14355F1982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0596" y="2965416"/>
                <a:ext cx="3935184" cy="1691363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  <a:ln>
                <a:solidFill>
                  <a:srgbClr val="C0000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7"/>
          <p:cNvSpPr txBox="1">
            <a:spLocks noGrp="1"/>
          </p:cNvSpPr>
          <p:nvPr>
            <p:ph type="title"/>
          </p:nvPr>
        </p:nvSpPr>
        <p:spPr>
          <a:xfrm>
            <a:off x="836507" y="2036550"/>
            <a:ext cx="2632407" cy="53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it" dirty="0"/>
              <a:t>Agenda</a:t>
            </a:r>
            <a:endParaRPr dirty="0"/>
          </a:p>
        </p:txBody>
      </p:sp>
      <p:sp>
        <p:nvSpPr>
          <p:cNvPr id="71" name="Google Shape;71;p7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/>
              <a:t>6</a:t>
            </a:fld>
            <a:endParaRPr/>
          </a:p>
        </p:txBody>
      </p:sp>
      <p:sp>
        <p:nvSpPr>
          <p:cNvPr id="72" name="Google Shape;72;p7"/>
          <p:cNvSpPr txBox="1">
            <a:spLocks noGrp="1"/>
          </p:cNvSpPr>
          <p:nvPr>
            <p:ph type="subTitle" idx="2"/>
          </p:nvPr>
        </p:nvSpPr>
        <p:spPr>
          <a:xfrm>
            <a:off x="1414800" y="4740228"/>
            <a:ext cx="7001550" cy="36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it" dirty="0"/>
              <a:t>Statistical Learning - </a:t>
            </a:r>
            <a:r>
              <a:rPr lang="en-US" sz="900" dirty="0"/>
              <a:t>The Importance of Being Calibrated: A Study on Probability Calibration and Interval Estimation for Binary Classification</a:t>
            </a:r>
            <a:endParaRPr sz="900" dirty="0"/>
          </a:p>
        </p:txBody>
      </p:sp>
      <p:pic>
        <p:nvPicPr>
          <p:cNvPr id="3" name="Picture 2" descr="A credit score gauge with a needle and a needle&#10;&#10;Description automatically generated with medium confidence">
            <a:extLst>
              <a:ext uri="{FF2B5EF4-FFF2-40B4-BE49-F238E27FC236}">
                <a16:creationId xmlns:a16="http://schemas.microsoft.com/office/drawing/2014/main" id="{9FCF091F-D737-673B-5DF8-C50E86D44B9B}"/>
              </a:ext>
            </a:extLst>
          </p:cNvPr>
          <p:cNvPicPr>
            <a:picLocks noChangeAspect="1"/>
          </p:cNvPicPr>
          <p:nvPr/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030" y="1838522"/>
            <a:ext cx="3875320" cy="217855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8C92F66-DD98-00C1-7C0B-03704970C3A5}"/>
              </a:ext>
            </a:extLst>
          </p:cNvPr>
          <p:cNvSpPr/>
          <p:nvPr/>
        </p:nvSpPr>
        <p:spPr>
          <a:xfrm>
            <a:off x="4215460" y="501992"/>
            <a:ext cx="4869542" cy="4307386"/>
          </a:xfrm>
          <a:prstGeom prst="rect">
            <a:avLst/>
          </a:prstGeom>
          <a:solidFill>
            <a:schemeClr val="bg2">
              <a:lumMod val="50000"/>
              <a:lumOff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A9F4115F-1744-27F1-D226-BAC0AD24BF02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4528427" y="888657"/>
            <a:ext cx="4383753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Introduction &amp; Motivation: Can We Trust a Model's Confidence?</a:t>
            </a:r>
            <a:endParaRPr lang="en-US" sz="1200" b="1" dirty="0">
              <a:solidFill>
                <a:schemeClr val="tx2"/>
              </a:solidFill>
              <a:latin typeface="Catamaran" panose="020B0604020202020204" charset="0"/>
              <a:cs typeface="Catamaran" panose="020B0604020202020204" charset="0"/>
            </a:endParaRPr>
          </a:p>
        </p:txBody>
      </p:sp>
      <p:sp>
        <p:nvSpPr>
          <p:cNvPr id="9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5F05BD8C-75CB-F6C3-0243-14FC44DD4137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4528427" y="1251873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Accuracy is Not Enough: Discrimination vs. Calibration</a:t>
            </a:r>
          </a:p>
        </p:txBody>
      </p:sp>
      <p:sp>
        <p:nvSpPr>
          <p:cNvPr id="10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123AAC5C-157B-3B55-1942-784B8E41094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4541030" y="1576677"/>
            <a:ext cx="3771900" cy="342900"/>
          </a:xfrm>
          <a:prstGeom prst="rect">
            <a:avLst/>
          </a:prstGeom>
          <a:solidFill>
            <a:srgbClr val="AD0505"/>
          </a:solidFill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en-US" sz="1200" b="1" kern="1200" dirty="0">
                <a:solidFill>
                  <a:schemeClr val="bg1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Calibration Methods: Platt, Isotonic, and Venn-</a:t>
            </a:r>
            <a:r>
              <a:rPr lang="en-US" sz="1200" b="1" kern="1200" dirty="0" err="1">
                <a:solidFill>
                  <a:schemeClr val="bg1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Abers</a:t>
            </a:r>
            <a:endParaRPr lang="en-US" sz="1200" b="1" kern="1200" dirty="0">
              <a:solidFill>
                <a:schemeClr val="bg1"/>
              </a:solidFill>
              <a:latin typeface="Catamaran" panose="020B0604020202020204" charset="0"/>
              <a:ea typeface="+mn-ea"/>
              <a:cs typeface="Catamaran" panose="020B0604020202020204" charset="0"/>
            </a:endParaRPr>
          </a:p>
        </p:txBody>
      </p:sp>
      <p:sp>
        <p:nvSpPr>
          <p:cNvPr id="11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B1D71953-C189-D7AC-2058-78E041D15A4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541030" y="1895304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Our Dataset &amp; Experimental Setup</a:t>
            </a:r>
          </a:p>
        </p:txBody>
      </p:sp>
      <p:sp>
        <p:nvSpPr>
          <p:cNvPr id="2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B9483475-6B13-5D88-E5DA-364A402874D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541030" y="2195584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dirty="0">
                <a:solidFill>
                  <a:schemeClr val="tx2"/>
                </a:solidFill>
                <a:latin typeface="Catamaran" panose="020B0604020202020204" charset="0"/>
                <a:cs typeface="Catamaran" panose="020B0604020202020204" charset="0"/>
              </a:rPr>
              <a:t>Credit Risk Data Preparation</a:t>
            </a:r>
          </a:p>
        </p:txBody>
      </p:sp>
      <p:sp>
        <p:nvSpPr>
          <p:cNvPr id="5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4D24E2A4-6D94-D815-011C-BAA1A62F5CE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571999" y="2549209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Results on Credit Risk Data: Accuracy vs. Calibration</a:t>
            </a:r>
          </a:p>
        </p:txBody>
      </p:sp>
      <p:sp>
        <p:nvSpPr>
          <p:cNvPr id="6" name="Text Placeholder 4">
            <a:hlinkClick r:id="rId16" action="ppaction://hlinksldjump"/>
            <a:extLst>
              <a:ext uri="{FF2B5EF4-FFF2-40B4-BE49-F238E27FC236}">
                <a16:creationId xmlns:a16="http://schemas.microsoft.com/office/drawing/2014/main" id="{C2B4952A-8A57-D05F-3B50-2CEFE72A6D9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571999" y="2867988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Simulated Data Generation</a:t>
            </a:r>
          </a:p>
        </p:txBody>
      </p:sp>
      <p:sp>
        <p:nvSpPr>
          <p:cNvPr id="7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EA41B23B-5539-B73B-D142-61DFF193CB5C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571999" y="3203114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Results on Simulated Data</a:t>
            </a:r>
          </a:p>
        </p:txBody>
      </p:sp>
      <p:sp>
        <p:nvSpPr>
          <p:cNvPr id="12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325B2701-BD25-5A24-828A-83B799D3CA3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571999" y="3523363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Probability Intervals</a:t>
            </a:r>
          </a:p>
        </p:txBody>
      </p:sp>
      <p:sp>
        <p:nvSpPr>
          <p:cNvPr id="13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F01DA9CA-794C-F524-1E5D-32A8A79BE53E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571999" y="4111396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References</a:t>
            </a:r>
          </a:p>
        </p:txBody>
      </p:sp>
      <p:sp>
        <p:nvSpPr>
          <p:cNvPr id="14" name="Text Placeholder 4">
            <a:hlinkClick r:id="rId15" action="ppaction://hlinksldjump"/>
            <a:extLst>
              <a:ext uri="{FF2B5EF4-FFF2-40B4-BE49-F238E27FC236}">
                <a16:creationId xmlns:a16="http://schemas.microsoft.com/office/drawing/2014/main" id="{22F063E4-4560-D8D6-F089-D6DE28E564A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571999" y="3824320"/>
            <a:ext cx="3771900" cy="3429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69056" tIns="69056" rIns="0" bIns="67866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</a:pPr>
            <a:r>
              <a:rPr lang="en-US" sz="1200" b="1" kern="1200" dirty="0">
                <a:solidFill>
                  <a:schemeClr val="tx2"/>
                </a:solidFill>
                <a:latin typeface="Catamaran" panose="020B0604020202020204" charset="0"/>
                <a:ea typeface="+mn-ea"/>
                <a:cs typeface="Catamaran" panose="020B0604020202020204" charset="0"/>
              </a:rPr>
              <a:t>Conclusion &amp; Key Takeaways</a:t>
            </a:r>
          </a:p>
        </p:txBody>
      </p:sp>
    </p:spTree>
    <p:extLst>
      <p:ext uri="{BB962C8B-B14F-4D97-AF65-F5344CB8AC3E}">
        <p14:creationId xmlns:p14="http://schemas.microsoft.com/office/powerpoint/2010/main" val="3753576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9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/>
              <a:t>7</a:t>
            </a:fld>
            <a:endParaRPr/>
          </a:p>
        </p:txBody>
      </p:sp>
      <p:sp>
        <p:nvSpPr>
          <p:cNvPr id="90" name="Google Shape;90;p9"/>
          <p:cNvSpPr txBox="1">
            <a:spLocks noGrp="1"/>
          </p:cNvSpPr>
          <p:nvPr>
            <p:ph type="subTitle" idx="2"/>
          </p:nvPr>
        </p:nvSpPr>
        <p:spPr>
          <a:xfrm>
            <a:off x="1392248" y="4749851"/>
            <a:ext cx="6854543" cy="3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n-US" dirty="0"/>
              <a:t>Statistical Learning - </a:t>
            </a:r>
            <a:r>
              <a:rPr lang="en-US" sz="900" dirty="0"/>
              <a:t>The Importance of Being Calibrated: A Study on Probability Calibration and Interval Estimation for Binary Classification</a:t>
            </a:r>
          </a:p>
          <a:p>
            <a:pPr marL="0" lvl="0" indent="0" algn="l" rtl="0">
              <a:spcBef>
                <a:spcPts val="1600"/>
              </a:spcBef>
              <a:spcAft>
                <a:spcPts val="1600"/>
              </a:spcAft>
              <a:buNone/>
            </a:pPr>
            <a:endParaRPr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302F970-8DA1-794D-C184-C6241054F2EB}"/>
              </a:ext>
            </a:extLst>
          </p:cNvPr>
          <p:cNvSpPr/>
          <p:nvPr/>
        </p:nvSpPr>
        <p:spPr>
          <a:xfrm>
            <a:off x="472339" y="58549"/>
            <a:ext cx="407676" cy="383512"/>
          </a:xfrm>
          <a:prstGeom prst="ellipse">
            <a:avLst/>
          </a:prstGeom>
          <a:solidFill>
            <a:srgbClr val="AD0505"/>
          </a:solidFill>
          <a:ln>
            <a:solidFill>
              <a:srgbClr val="AD050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Google Shape;70;p7">
            <a:extLst>
              <a:ext uri="{FF2B5EF4-FFF2-40B4-BE49-F238E27FC236}">
                <a16:creationId xmlns:a16="http://schemas.microsoft.com/office/drawing/2014/main" id="{C65463CC-4A7C-13C9-1895-A7B5B3E5B1F9}"/>
              </a:ext>
            </a:extLst>
          </p:cNvPr>
          <p:cNvSpPr txBox="1">
            <a:spLocks/>
          </p:cNvSpPr>
          <p:nvPr/>
        </p:nvSpPr>
        <p:spPr>
          <a:xfrm>
            <a:off x="558092" y="58549"/>
            <a:ext cx="7688700" cy="53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Catamaran"/>
              <a:buNone/>
              <a:defRPr sz="2600" b="1" i="0" u="none" strike="noStrike" cap="none">
                <a:solidFill>
                  <a:schemeClr val="dk2"/>
                </a:solidFill>
                <a:latin typeface="Catamaran"/>
                <a:ea typeface="Catamaran"/>
                <a:cs typeface="Catamaran"/>
                <a:sym typeface="Catamara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r>
              <a:rPr lang="en-US" sz="1600" dirty="0"/>
              <a:t>Calibration Methods: Platt’s method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230B69B-E4E8-FFB5-C76E-55B7CD6ABB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98989" y="1259047"/>
            <a:ext cx="4386013" cy="2825505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8" name="Google Shape;73;p7">
                <a:extLst>
                  <a:ext uri="{FF2B5EF4-FFF2-40B4-BE49-F238E27FC236}">
                    <a16:creationId xmlns:a16="http://schemas.microsoft.com/office/drawing/2014/main" id="{A062E98F-3CBF-0FB9-2B9A-80B19D4A264C}"/>
                  </a:ext>
                </a:extLst>
              </p:cNvPr>
              <p:cNvSpPr txBox="1"/>
              <p:nvPr/>
            </p:nvSpPr>
            <p:spPr>
              <a:xfrm>
                <a:off x="185987" y="1586806"/>
                <a:ext cx="4168010" cy="2279401"/>
              </a:xfrm>
              <a:prstGeom prst="rect">
                <a:avLst/>
              </a:prstGeom>
              <a:noFill/>
              <a:ln>
                <a:solidFill>
                  <a:srgbClr val="C00000"/>
                </a:solidFill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171450" lvl="0" indent="-171450" algn="just" rtl="0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sz="1200" dirty="0">
                    <a:solidFill>
                      <a:schemeClr val="accent1"/>
                    </a:solidFill>
                    <a:latin typeface="Catamaran"/>
                    <a:ea typeface="Catamaran"/>
                    <a:cs typeface="Catamaran"/>
                    <a:sym typeface="Catamaran"/>
                  </a:rPr>
                  <a:t>Platt’s method uses sigmoid:</a:t>
                </a:r>
              </a:p>
              <a:p>
                <a:pPr lvl="1" algn="just"/>
                <a:r>
                  <a:rPr lang="en-US" sz="1200" dirty="0">
                    <a:solidFill>
                      <a:schemeClr val="accent1"/>
                    </a:solidFill>
                    <a:latin typeface="Catamaran"/>
                    <a:ea typeface="Catamaran"/>
                    <a:cs typeface="Catamaran"/>
                    <a:sym typeface="Catamaran"/>
                  </a:rPr>
                  <a:t>	</a:t>
                </a:r>
              </a:p>
              <a:p>
                <a:pPr lvl="1" algn="just"/>
                <a:r>
                  <a:rPr lang="en-US" sz="1200" dirty="0">
                    <a:solidFill>
                      <a:schemeClr val="accent1"/>
                    </a:solidFill>
                    <a:latin typeface="Catamaran"/>
                    <a:ea typeface="Catamaran"/>
                    <a:cs typeface="Catamaran"/>
                    <a:sym typeface="Catamaran"/>
                  </a:rPr>
                  <a:t>	</a:t>
                </a:r>
                <a14:m>
                  <m:oMath xmlns:m="http://schemas.openxmlformats.org/officeDocument/2006/math">
                    <m:r>
                      <a:rPr lang="en-US" b="0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Catamaran"/>
                        <a:cs typeface="Catamaran"/>
                        <a:sym typeface="Catamaran"/>
                      </a:rPr>
                      <m:t>𝑔</m:t>
                    </m:r>
                    <m:d>
                      <m:dPr>
                        <m:ctrlPr>
                          <a:rPr lang="en-US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ea typeface="Catamaran"/>
                            <a:cs typeface="Catamaran"/>
                            <a:sym typeface="Catamaran"/>
                          </a:rPr>
                        </m:ctrlPr>
                      </m:dPr>
                      <m:e>
                        <m:r>
                          <a:rPr lang="en-US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ea typeface="Catamaran"/>
                            <a:cs typeface="Catamaran"/>
                            <a:sym typeface="Catamaran"/>
                          </a:rPr>
                          <m:t>𝑠</m:t>
                        </m:r>
                      </m:e>
                    </m:d>
                    <m:r>
                      <a:rPr lang="en-US" b="0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Catamaran"/>
                        <a:cs typeface="Catamaran"/>
                        <a:sym typeface="Catamaran"/>
                      </a:rPr>
                      <m:t>≔ </m:t>
                    </m:r>
                    <m:f>
                      <m:fPr>
                        <m:ctrlPr>
                          <a:rPr lang="en-US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  <a:sym typeface="Catamaran"/>
                          </a:rPr>
                        </m:ctrlPr>
                      </m:fPr>
                      <m:num>
                        <m:r>
                          <a:rPr lang="en-US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  <a:sym typeface="Catamaran"/>
                          </a:rPr>
                          <m:t>1</m:t>
                        </m:r>
                      </m:num>
                      <m:den>
                        <m:r>
                          <a:rPr lang="en-US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  <a:sym typeface="Catamaran"/>
                          </a:rPr>
                          <m:t>1+</m:t>
                        </m:r>
                        <m:r>
                          <m:rPr>
                            <m:sty m:val="p"/>
                          </m:rPr>
                          <a:rPr lang="en-US" b="0" i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  <a:sym typeface="Catamaran"/>
                          </a:rPr>
                          <m:t>exp</m:t>
                        </m:r>
                        <m:r>
                          <a:rPr lang="en-US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  <a:sym typeface="Catamaran"/>
                          </a:rPr>
                          <m:t>⁡(</m:t>
                        </m:r>
                        <m:r>
                          <a:rPr lang="en-US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  <a:sym typeface="Catamaran"/>
                          </a:rPr>
                          <m:t>𝐴𝑠</m:t>
                        </m:r>
                        <m:r>
                          <a:rPr lang="en-US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  <a:sym typeface="Catamaran"/>
                          </a:rPr>
                          <m:t>+</m:t>
                        </m:r>
                        <m:r>
                          <a:rPr lang="en-US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  <a:sym typeface="Catamaran"/>
                          </a:rPr>
                          <m:t>𝐵</m:t>
                        </m:r>
                        <m:r>
                          <a:rPr lang="en-US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  <a:sym typeface="Catamaran"/>
                          </a:rPr>
                          <m:t>)</m:t>
                        </m:r>
                      </m:den>
                    </m:f>
                  </m:oMath>
                </a14:m>
                <a:endParaRPr lang="en-US" dirty="0">
                  <a:solidFill>
                    <a:schemeClr val="accent1"/>
                  </a:solidFill>
                  <a:latin typeface="Catamaran"/>
                  <a:ea typeface="Catamaran"/>
                  <a:cs typeface="Catamaran"/>
                  <a:sym typeface="Catamaran"/>
                </a:endParaRPr>
              </a:p>
              <a:p>
                <a:pPr marL="0" lvl="0" indent="0" algn="just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sz="1600" b="1" dirty="0">
                  <a:solidFill>
                    <a:schemeClr val="accent1"/>
                  </a:solidFill>
                  <a:latin typeface="Catamaran"/>
                  <a:ea typeface="Catamaran"/>
                  <a:cs typeface="Catamaran"/>
                  <a:sym typeface="Catamaran"/>
                </a:endParaRPr>
              </a:p>
              <a:p>
                <a:pPr marL="0" lvl="0" indent="0" algn="just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200" dirty="0">
                    <a:solidFill>
                      <a:schemeClr val="accent1"/>
                    </a:solidFill>
                    <a:latin typeface="Catamaran"/>
                    <a:ea typeface="Catamaran"/>
                    <a:cs typeface="Catamaran"/>
                    <a:sym typeface="Catamaran"/>
                  </a:rPr>
                  <a:t>Where A &lt; 0 and B are parameters that are determined via MLE.</a:t>
                </a:r>
              </a:p>
              <a:p>
                <a:pPr marL="0" lvl="0" indent="0" algn="just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sz="1200" dirty="0">
                  <a:solidFill>
                    <a:schemeClr val="accent1"/>
                  </a:solidFill>
                  <a:latin typeface="Catamaran"/>
                  <a:ea typeface="Catamaran"/>
                  <a:cs typeface="Catamaran"/>
                  <a:sym typeface="Catamaran"/>
                </a:endParaRPr>
              </a:p>
              <a:p>
                <a:pPr marL="171450" lvl="0" indent="-171450" algn="just" rtl="0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sz="1200" b="1" dirty="0">
                    <a:solidFill>
                      <a:schemeClr val="accent1"/>
                    </a:solidFill>
                    <a:latin typeface="Catamaran"/>
                    <a:ea typeface="Catamaran"/>
                    <a:cs typeface="Catamaran"/>
                    <a:sym typeface="Catamaran"/>
                  </a:rPr>
                  <a:t>Pros:</a:t>
                </a:r>
                <a:r>
                  <a:rPr lang="en-US" sz="1200" dirty="0">
                    <a:solidFill>
                      <a:schemeClr val="accent1"/>
                    </a:solidFill>
                    <a:latin typeface="Catamaran"/>
                    <a:ea typeface="Catamaran"/>
                    <a:cs typeface="Catamaran"/>
                    <a:sym typeface="Catamaran"/>
                  </a:rPr>
                  <a:t> Simple, fast, less prone to overfitting on small datasets.</a:t>
                </a:r>
              </a:p>
              <a:p>
                <a:pPr lvl="0" algn="just" rtl="0">
                  <a:spcBef>
                    <a:spcPts val="0"/>
                  </a:spcBef>
                  <a:spcAft>
                    <a:spcPts val="0"/>
                  </a:spcAft>
                </a:pPr>
                <a:endParaRPr lang="en-US" sz="1200" dirty="0">
                  <a:solidFill>
                    <a:schemeClr val="accent1"/>
                  </a:solidFill>
                  <a:latin typeface="Catamaran"/>
                  <a:ea typeface="Catamaran"/>
                  <a:cs typeface="Catamaran"/>
                  <a:sym typeface="Catamaran"/>
                </a:endParaRPr>
              </a:p>
              <a:p>
                <a:pPr marL="171450" lvl="8" indent="-171450" algn="just">
                  <a:buFont typeface="Arial" panose="020B0604020202020204" pitchFamily="34" charset="0"/>
                  <a:buChar char="•"/>
                </a:pPr>
                <a:r>
                  <a:rPr lang="en-US" sz="1200" b="1" dirty="0">
                    <a:solidFill>
                      <a:schemeClr val="accent1"/>
                    </a:solidFill>
                    <a:latin typeface="Catamaran"/>
                    <a:ea typeface="Catamaran"/>
                    <a:cs typeface="Catamaran"/>
                    <a:sym typeface="Catamaran"/>
                  </a:rPr>
                  <a:t>Cons:</a:t>
                </a:r>
                <a:r>
                  <a:rPr lang="en-US" sz="1200" dirty="0">
                    <a:solidFill>
                      <a:schemeClr val="accent1"/>
                    </a:solidFill>
                    <a:latin typeface="Catamaran"/>
                    <a:ea typeface="Catamaran"/>
                    <a:cs typeface="Catamaran"/>
                    <a:sym typeface="Catamaran"/>
                  </a:rPr>
                  <a:t> Makes a strong assumption that the distortion in scores follows a sigmoid shape.</a:t>
                </a:r>
              </a:p>
              <a:p>
                <a:pPr marL="171450" lvl="0" indent="-171450" algn="just" rtl="0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endParaRPr lang="en-US" sz="1200" dirty="0">
                  <a:solidFill>
                    <a:schemeClr val="accent1"/>
                  </a:solidFill>
                  <a:latin typeface="Catamaran"/>
                  <a:ea typeface="Catamaran"/>
                  <a:cs typeface="Catamaran"/>
                  <a:sym typeface="Catamaran"/>
                </a:endParaRPr>
              </a:p>
            </p:txBody>
          </p:sp>
        </mc:Choice>
        <mc:Fallback xmlns="">
          <p:sp>
            <p:nvSpPr>
              <p:cNvPr id="18" name="Google Shape;73;p7">
                <a:extLst>
                  <a:ext uri="{FF2B5EF4-FFF2-40B4-BE49-F238E27FC236}">
                    <a16:creationId xmlns:a16="http://schemas.microsoft.com/office/drawing/2014/main" id="{A062E98F-3CBF-0FB9-2B9A-80B19D4A264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5987" y="1586806"/>
                <a:ext cx="4168010" cy="227940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  <a:ln>
                <a:solidFill>
                  <a:srgbClr val="C0000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9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/>
              <a:t>8</a:t>
            </a:fld>
            <a:endParaRPr/>
          </a:p>
        </p:txBody>
      </p:sp>
      <p:sp>
        <p:nvSpPr>
          <p:cNvPr id="90" name="Google Shape;90;p9"/>
          <p:cNvSpPr txBox="1">
            <a:spLocks noGrp="1"/>
          </p:cNvSpPr>
          <p:nvPr>
            <p:ph type="subTitle" idx="2"/>
          </p:nvPr>
        </p:nvSpPr>
        <p:spPr>
          <a:xfrm>
            <a:off x="1392248" y="4749851"/>
            <a:ext cx="6854543" cy="3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n-US" dirty="0"/>
              <a:t>Statistical Learning - </a:t>
            </a:r>
            <a:r>
              <a:rPr lang="en-US" sz="900" dirty="0"/>
              <a:t>The Importance of Being Calibrated: A Study on Probability Calibration and Interval Estimation for Binary Classification</a:t>
            </a:r>
          </a:p>
          <a:p>
            <a:pPr marL="0" lvl="0" indent="0" algn="l" rtl="0">
              <a:spcBef>
                <a:spcPts val="1600"/>
              </a:spcBef>
              <a:spcAft>
                <a:spcPts val="1600"/>
              </a:spcAft>
              <a:buNone/>
            </a:pPr>
            <a:endParaRPr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302F970-8DA1-794D-C184-C6241054F2EB}"/>
              </a:ext>
            </a:extLst>
          </p:cNvPr>
          <p:cNvSpPr/>
          <p:nvPr/>
        </p:nvSpPr>
        <p:spPr>
          <a:xfrm>
            <a:off x="472339" y="58549"/>
            <a:ext cx="407676" cy="383512"/>
          </a:xfrm>
          <a:prstGeom prst="ellipse">
            <a:avLst/>
          </a:prstGeom>
          <a:solidFill>
            <a:srgbClr val="AD0505"/>
          </a:solidFill>
          <a:ln>
            <a:solidFill>
              <a:srgbClr val="AD050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Google Shape;70;p7">
            <a:extLst>
              <a:ext uri="{FF2B5EF4-FFF2-40B4-BE49-F238E27FC236}">
                <a16:creationId xmlns:a16="http://schemas.microsoft.com/office/drawing/2014/main" id="{C65463CC-4A7C-13C9-1895-A7B5B3E5B1F9}"/>
              </a:ext>
            </a:extLst>
          </p:cNvPr>
          <p:cNvSpPr txBox="1">
            <a:spLocks/>
          </p:cNvSpPr>
          <p:nvPr/>
        </p:nvSpPr>
        <p:spPr>
          <a:xfrm>
            <a:off x="558092" y="58549"/>
            <a:ext cx="7688700" cy="53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Catamaran"/>
              <a:buNone/>
              <a:defRPr sz="2600" b="1" i="0" u="none" strike="noStrike" cap="none">
                <a:solidFill>
                  <a:schemeClr val="dk2"/>
                </a:solidFill>
                <a:latin typeface="Catamaran"/>
                <a:ea typeface="Catamaran"/>
                <a:cs typeface="Catamaran"/>
                <a:sym typeface="Catamara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r>
              <a:rPr lang="en-US" sz="1600" dirty="0"/>
              <a:t>Calibration Methods: Isotonic Regress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Google Shape;73;p7">
                <a:extLst>
                  <a:ext uri="{FF2B5EF4-FFF2-40B4-BE49-F238E27FC236}">
                    <a16:creationId xmlns:a16="http://schemas.microsoft.com/office/drawing/2014/main" id="{A062E98F-3CBF-0FB9-2B9A-80B19D4A264C}"/>
                  </a:ext>
                </a:extLst>
              </p:cNvPr>
              <p:cNvSpPr txBox="1"/>
              <p:nvPr/>
            </p:nvSpPr>
            <p:spPr>
              <a:xfrm>
                <a:off x="185987" y="1271410"/>
                <a:ext cx="3683560" cy="2497403"/>
              </a:xfrm>
              <a:prstGeom prst="rect">
                <a:avLst/>
              </a:prstGeom>
              <a:noFill/>
              <a:ln>
                <a:solidFill>
                  <a:srgbClr val="C00000"/>
                </a:solidFill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171450" lvl="0" indent="-171450" algn="just" rtl="0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sz="1200" dirty="0">
                    <a:solidFill>
                      <a:schemeClr val="accent1"/>
                    </a:solidFill>
                    <a:latin typeface="Catamaran"/>
                    <a:ea typeface="Catamaran"/>
                    <a:cs typeface="Catamaran"/>
                    <a:sym typeface="Catamaran"/>
                  </a:rPr>
                  <a:t>A </a:t>
                </a:r>
                <a:r>
                  <a:rPr lang="en-US" sz="1200" b="1" dirty="0">
                    <a:solidFill>
                      <a:schemeClr val="accent1"/>
                    </a:solidFill>
                    <a:latin typeface="Catamaran"/>
                    <a:ea typeface="Catamaran"/>
                    <a:cs typeface="Catamaran"/>
                    <a:sym typeface="Catamaran"/>
                  </a:rPr>
                  <a:t>non-parametric approach</a:t>
                </a:r>
                <a:r>
                  <a:rPr lang="en-US" sz="1200" dirty="0">
                    <a:solidFill>
                      <a:schemeClr val="accent1"/>
                    </a:solidFill>
                    <a:latin typeface="Catamaran"/>
                    <a:ea typeface="Catamaran"/>
                    <a:cs typeface="Catamaran"/>
                    <a:sym typeface="Catamaran"/>
                  </a:rPr>
                  <a:t> that fits a flexible, step-wise function to the model's scores.</a:t>
                </a:r>
              </a:p>
              <a:p>
                <a:pPr lvl="0" algn="just" rtl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dirty="0">
                    <a:solidFill>
                      <a:schemeClr val="accent1"/>
                    </a:solidFill>
                    <a:latin typeface="Catamaran"/>
                    <a:ea typeface="Catamaran"/>
                    <a:cs typeface="Catamaran"/>
                    <a:sym typeface="Catamaran"/>
                  </a:rPr>
                  <a:t>	</a:t>
                </a:r>
              </a:p>
              <a:p>
                <a:pPr marL="171450" lvl="0" indent="-171450" algn="just" rtl="0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sz="1200" dirty="0">
                    <a:solidFill>
                      <a:schemeClr val="accent1"/>
                    </a:solidFill>
                    <a:latin typeface="Catamaran"/>
                    <a:cs typeface="Catamaran"/>
                  </a:rPr>
                  <a:t>Fit an </a:t>
                </a:r>
                <a:r>
                  <a:rPr lang="en-US" sz="1200" b="1" dirty="0">
                    <a:solidFill>
                      <a:schemeClr val="accent1"/>
                    </a:solidFill>
                    <a:latin typeface="Catamaran"/>
                    <a:cs typeface="Catamaran"/>
                  </a:rPr>
                  <a:t>isotonic regression model</a:t>
                </a:r>
                <a:r>
                  <a:rPr lang="en-US" sz="1200" dirty="0">
                    <a:solidFill>
                      <a:schemeClr val="accent1"/>
                    </a:solidFill>
                    <a:latin typeface="Catamaran"/>
                    <a:cs typeface="Catamaran"/>
                  </a:rPr>
                  <a:t> (a.k.a. a non-decreasing step function) to the pairs 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sz="120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</m:ctrlPr>
                      </m:dPr>
                      <m:e>
                        <m:r>
                          <a:rPr lang="en-US" sz="120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𝑠</m:t>
                        </m:r>
                        <m:d>
                          <m:dPr>
                            <m:ctrlPr>
                              <a:rPr lang="en-US" sz="1200" i="1" dirty="0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cs typeface="Catamaran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sz="1200" i="1" dirty="0" smtClean="0">
                                    <a:solidFill>
                                      <a:schemeClr val="accent1"/>
                                    </a:solidFill>
                                    <a:latin typeface="Cambria Math" panose="02040503050406030204" pitchFamily="18" charset="0"/>
                                    <a:cs typeface="Catamaran"/>
                                  </a:rPr>
                                </m:ctrlPr>
                              </m:sSubPr>
                              <m:e>
                                <m:r>
                                  <a:rPr lang="en-US" sz="1200" b="0" i="1" dirty="0" smtClean="0">
                                    <a:solidFill>
                                      <a:schemeClr val="accent1"/>
                                    </a:solidFill>
                                    <a:latin typeface="Cambria Math" panose="02040503050406030204" pitchFamily="18" charset="0"/>
                                    <a:cs typeface="Catamaran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en-US" sz="1200" b="0" i="1" dirty="0" smtClean="0">
                                    <a:solidFill>
                                      <a:schemeClr val="accent1"/>
                                    </a:solidFill>
                                    <a:latin typeface="Cambria Math" panose="02040503050406030204" pitchFamily="18" charset="0"/>
                                    <a:cs typeface="Catamaran"/>
                                  </a:rPr>
                                  <m:t>𝑖</m:t>
                                </m:r>
                              </m:sub>
                            </m:sSub>
                          </m:e>
                        </m:d>
                        <m:r>
                          <a:rPr lang="en-US" sz="120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,</m:t>
                        </m:r>
                        <m:sSub>
                          <m:sSubPr>
                            <m:ctrlPr>
                              <a:rPr lang="en-US" sz="1200" i="1" dirty="0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cs typeface="Catamaran"/>
                              </a:rPr>
                            </m:ctrlPr>
                          </m:sSubPr>
                          <m:e>
                            <m:r>
                              <a:rPr lang="en-US" sz="1200" b="0" i="1" dirty="0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cs typeface="Catamaran"/>
                              </a:rPr>
                              <m:t>𝑦</m:t>
                            </m:r>
                          </m:e>
                          <m:sub>
                            <m:r>
                              <a:rPr lang="en-US" sz="1200" b="0" i="1" dirty="0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cs typeface="Catamaran"/>
                              </a:rPr>
                              <m:t>𝑖</m:t>
                            </m:r>
                          </m:sub>
                        </m:sSub>
                      </m:e>
                    </m:d>
                  </m:oMath>
                </a14:m>
                <a:r>
                  <a:rPr lang="en-US" sz="1200" dirty="0">
                    <a:solidFill>
                      <a:schemeClr val="accent1"/>
                    </a:solidFill>
                    <a:latin typeface="Catamaran"/>
                    <a:cs typeface="Catamaran"/>
                  </a:rPr>
                  <a:t> using </a:t>
                </a:r>
                <a:r>
                  <a:rPr lang="en-US" sz="1200" b="1" dirty="0">
                    <a:solidFill>
                      <a:schemeClr val="accent1"/>
                    </a:solidFill>
                    <a:latin typeface="Catamaran"/>
                    <a:cs typeface="Catamaran"/>
                  </a:rPr>
                  <a:t>PAVA.</a:t>
                </a:r>
              </a:p>
              <a:p>
                <a:pPr marL="171450" lvl="0" indent="-171450" algn="just" rtl="0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endParaRPr lang="en-US" sz="1200" dirty="0">
                  <a:solidFill>
                    <a:schemeClr val="accent1"/>
                  </a:solidFill>
                  <a:latin typeface="Catamaran"/>
                  <a:cs typeface="Catamaran"/>
                </a:endParaRPr>
              </a:p>
              <a:p>
                <a:pPr marL="171450" lvl="0" indent="-171450" algn="just" rtl="0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sz="1200" b="1" dirty="0">
                    <a:solidFill>
                      <a:schemeClr val="accent1"/>
                    </a:solidFill>
                    <a:latin typeface="Catamaran"/>
                    <a:cs typeface="Catamaran"/>
                    <a:sym typeface="Catamaran"/>
                  </a:rPr>
                  <a:t>Pros:</a:t>
                </a:r>
                <a:r>
                  <a:rPr lang="en-US" sz="1200" dirty="0">
                    <a:solidFill>
                      <a:schemeClr val="accent1"/>
                    </a:solidFill>
                    <a:latin typeface="Catamaran"/>
                    <a:cs typeface="Catamaran"/>
                    <a:sym typeface="Catamaran"/>
                  </a:rPr>
                  <a:t> Highly flexible. Can learn any non-decreasing calibration pattern. Often more accurate than Platt when we have enough data.</a:t>
                </a:r>
              </a:p>
              <a:p>
                <a:pPr marL="171450" lvl="0" indent="-171450" algn="just" rtl="0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endParaRPr lang="en-US" sz="1200" dirty="0">
                  <a:solidFill>
                    <a:schemeClr val="accent1"/>
                  </a:solidFill>
                  <a:latin typeface="Catamaran"/>
                  <a:cs typeface="Catamaran"/>
                  <a:sym typeface="Catamaran"/>
                </a:endParaRPr>
              </a:p>
              <a:p>
                <a:pPr marL="171450" lvl="0" indent="-171450" algn="just" rtl="0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sz="1200" b="1" dirty="0">
                    <a:solidFill>
                      <a:schemeClr val="accent1"/>
                    </a:solidFill>
                    <a:latin typeface="Catamaran"/>
                    <a:cs typeface="Catamaran"/>
                    <a:sym typeface="Catamaran"/>
                  </a:rPr>
                  <a:t>Cons:</a:t>
                </a:r>
                <a:r>
                  <a:rPr lang="en-US" sz="1200" dirty="0">
                    <a:solidFill>
                      <a:schemeClr val="accent1"/>
                    </a:solidFill>
                    <a:latin typeface="Catamaran"/>
                    <a:cs typeface="Catamaran"/>
                    <a:sym typeface="Catamaran"/>
                  </a:rPr>
                  <a:t> Prone to overfitting on small datasets. Requires more data to reliably learn the function.</a:t>
                </a:r>
              </a:p>
            </p:txBody>
          </p:sp>
        </mc:Choice>
        <mc:Fallback xmlns="">
          <p:sp>
            <p:nvSpPr>
              <p:cNvPr id="18" name="Google Shape;73;p7">
                <a:extLst>
                  <a:ext uri="{FF2B5EF4-FFF2-40B4-BE49-F238E27FC236}">
                    <a16:creationId xmlns:a16="http://schemas.microsoft.com/office/drawing/2014/main" id="{A062E98F-3CBF-0FB9-2B9A-80B19D4A264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5987" y="1271410"/>
                <a:ext cx="3683560" cy="2497403"/>
              </a:xfrm>
              <a:prstGeom prst="rect">
                <a:avLst/>
              </a:prstGeom>
              <a:blipFill>
                <a:blip r:embed="rId3"/>
                <a:stretch>
                  <a:fillRect b="-2433"/>
                </a:stretch>
              </a:blipFill>
              <a:ln>
                <a:solidFill>
                  <a:srgbClr val="C0000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" name="Picture 2">
            <a:extLst>
              <a:ext uri="{FF2B5EF4-FFF2-40B4-BE49-F238E27FC236}">
                <a16:creationId xmlns:a16="http://schemas.microsoft.com/office/drawing/2014/main" id="{7512A32E-971E-B397-C36B-A900C33013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99661" y="1006855"/>
            <a:ext cx="4858352" cy="3129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73979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9"/>
          <p:cNvSpPr txBox="1">
            <a:spLocks noGrp="1"/>
          </p:cNvSpPr>
          <p:nvPr>
            <p:ph type="sldNum" idx="12"/>
          </p:nvPr>
        </p:nvSpPr>
        <p:spPr>
          <a:xfrm>
            <a:off x="8536302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/>
              <a:t>9</a:t>
            </a:fld>
            <a:endParaRPr/>
          </a:p>
        </p:txBody>
      </p:sp>
      <p:sp>
        <p:nvSpPr>
          <p:cNvPr id="90" name="Google Shape;90;p9"/>
          <p:cNvSpPr txBox="1">
            <a:spLocks noGrp="1"/>
          </p:cNvSpPr>
          <p:nvPr>
            <p:ph type="subTitle" idx="2"/>
          </p:nvPr>
        </p:nvSpPr>
        <p:spPr>
          <a:xfrm>
            <a:off x="1392248" y="4749851"/>
            <a:ext cx="6987663" cy="3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1600"/>
              </a:spcAft>
              <a:buNone/>
            </a:pPr>
            <a:r>
              <a:rPr lang="en-US" dirty="0"/>
              <a:t>Statistical Learning - </a:t>
            </a:r>
            <a:r>
              <a:rPr lang="en-US" sz="900" dirty="0"/>
              <a:t>The Importance of Being Calibrated: A Study on Probability Calibration and Interval Estimation for Binary Classification</a:t>
            </a:r>
          </a:p>
          <a:p>
            <a:pPr marL="0" lvl="0" indent="0" algn="l" rtl="0">
              <a:spcBef>
                <a:spcPts val="1600"/>
              </a:spcBef>
              <a:spcAft>
                <a:spcPts val="1600"/>
              </a:spcAft>
              <a:buNone/>
            </a:pPr>
            <a:endParaRPr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302F970-8DA1-794D-C184-C6241054F2EB}"/>
              </a:ext>
            </a:extLst>
          </p:cNvPr>
          <p:cNvSpPr/>
          <p:nvPr/>
        </p:nvSpPr>
        <p:spPr>
          <a:xfrm>
            <a:off x="472339" y="58549"/>
            <a:ext cx="407676" cy="383512"/>
          </a:xfrm>
          <a:prstGeom prst="ellipse">
            <a:avLst/>
          </a:prstGeom>
          <a:solidFill>
            <a:srgbClr val="AD0505"/>
          </a:solidFill>
          <a:ln>
            <a:solidFill>
              <a:srgbClr val="AD050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Google Shape;70;p7">
            <a:extLst>
              <a:ext uri="{FF2B5EF4-FFF2-40B4-BE49-F238E27FC236}">
                <a16:creationId xmlns:a16="http://schemas.microsoft.com/office/drawing/2014/main" id="{C65463CC-4A7C-13C9-1895-A7B5B3E5B1F9}"/>
              </a:ext>
            </a:extLst>
          </p:cNvPr>
          <p:cNvSpPr txBox="1">
            <a:spLocks/>
          </p:cNvSpPr>
          <p:nvPr/>
        </p:nvSpPr>
        <p:spPr>
          <a:xfrm>
            <a:off x="558092" y="58549"/>
            <a:ext cx="7688700" cy="53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Catamaran"/>
              <a:buNone/>
              <a:defRPr sz="2600" b="1" i="0" u="none" strike="noStrike" cap="none">
                <a:solidFill>
                  <a:schemeClr val="dk2"/>
                </a:solidFill>
                <a:latin typeface="Catamaran"/>
                <a:ea typeface="Catamaran"/>
                <a:cs typeface="Catamaran"/>
                <a:sym typeface="Catamara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Raleway"/>
              <a:buNone/>
              <a:defRPr sz="26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r>
              <a:rPr lang="en-US" sz="1600" dirty="0"/>
              <a:t>Calibration Methods: Inductive Venn-</a:t>
            </a:r>
            <a:r>
              <a:rPr lang="en-US" sz="1600" dirty="0" err="1"/>
              <a:t>Abers</a:t>
            </a:r>
            <a:r>
              <a:rPr lang="en-US" sz="1600" dirty="0"/>
              <a:t> predictors (IVAPs)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Google Shape;73;p7">
                <a:extLst>
                  <a:ext uri="{FF2B5EF4-FFF2-40B4-BE49-F238E27FC236}">
                    <a16:creationId xmlns:a16="http://schemas.microsoft.com/office/drawing/2014/main" id="{A062E98F-3CBF-0FB9-2B9A-80B19D4A264C}"/>
                  </a:ext>
                </a:extLst>
              </p:cNvPr>
              <p:cNvSpPr txBox="1"/>
              <p:nvPr/>
            </p:nvSpPr>
            <p:spPr>
              <a:xfrm>
                <a:off x="348136" y="851794"/>
                <a:ext cx="4107454" cy="3538579"/>
              </a:xfrm>
              <a:prstGeom prst="rect">
                <a:avLst/>
              </a:prstGeom>
              <a:noFill/>
              <a:ln>
                <a:solidFill>
                  <a:srgbClr val="C00000"/>
                </a:solidFill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171450" lvl="0" indent="-171450" algn="just">
                  <a:buFont typeface="Arial" panose="020B0604020202020204" pitchFamily="34" charset="0"/>
                  <a:buChar char="•"/>
                </a:pPr>
                <a:r>
                  <a:rPr lang="en-US" sz="1000" dirty="0">
                    <a:solidFill>
                      <a:schemeClr val="accent1"/>
                    </a:solidFill>
                    <a:latin typeface="Catamaran"/>
                    <a:ea typeface="Catamaran"/>
                    <a:cs typeface="Catamaran"/>
                    <a:sym typeface="Catamaran"/>
                  </a:rPr>
                  <a:t>IVAPs are a specific class of </a:t>
                </a:r>
                <a:r>
                  <a:rPr lang="en-US" sz="1000" b="1" dirty="0">
                    <a:solidFill>
                      <a:schemeClr val="accent1"/>
                    </a:solidFill>
                    <a:latin typeface="Catamaran"/>
                    <a:ea typeface="Catamaran"/>
                    <a:cs typeface="Catamaran"/>
                    <a:sym typeface="Catamaran"/>
                  </a:rPr>
                  <a:t>Venn predictors</a:t>
                </a:r>
                <a:r>
                  <a:rPr lang="en-US" sz="1000" dirty="0">
                    <a:solidFill>
                      <a:schemeClr val="accent1"/>
                    </a:solidFill>
                    <a:latin typeface="Catamaran"/>
                    <a:ea typeface="Catamaran"/>
                    <a:cs typeface="Catamaran"/>
                    <a:sym typeface="Catamaran"/>
                  </a:rPr>
                  <a:t> that utilize </a:t>
                </a:r>
                <a:r>
                  <a:rPr lang="en-US" sz="1000" b="1" dirty="0">
                    <a:solidFill>
                      <a:schemeClr val="accent1"/>
                    </a:solidFill>
                    <a:latin typeface="Catamaran"/>
                    <a:ea typeface="Catamaran"/>
                    <a:cs typeface="Catamaran"/>
                    <a:sym typeface="Catamaran"/>
                  </a:rPr>
                  <a:t>isotonic regression</a:t>
                </a:r>
                <a:r>
                  <a:rPr lang="en-US" sz="1000" dirty="0">
                    <a:solidFill>
                      <a:schemeClr val="accent1"/>
                    </a:solidFill>
                    <a:latin typeface="Catamaran"/>
                    <a:ea typeface="Catamaran"/>
                    <a:cs typeface="Catamaran"/>
                    <a:sym typeface="Catamaran"/>
                  </a:rPr>
                  <a:t> to calibrate probabilistic predictions.</a:t>
                </a:r>
              </a:p>
              <a:p>
                <a:pPr marL="171450" lvl="0" indent="-171450" algn="just">
                  <a:buFont typeface="Arial" panose="020B0604020202020204" pitchFamily="34" charset="0"/>
                  <a:buChar char="•"/>
                </a:pPr>
                <a:endParaRPr lang="en-US" sz="1000" b="1" dirty="0">
                  <a:solidFill>
                    <a:schemeClr val="accent1"/>
                  </a:solidFill>
                  <a:latin typeface="Catamaran"/>
                  <a:ea typeface="Catamaran"/>
                  <a:cs typeface="Catamaran"/>
                  <a:sym typeface="Catamaran"/>
                </a:endParaRPr>
              </a:p>
              <a:p>
                <a:pPr marL="171450" lvl="0" indent="-171450" algn="just">
                  <a:buFont typeface="Arial" panose="020B0604020202020204" pitchFamily="34" charset="0"/>
                  <a:buChar char="•"/>
                </a:pPr>
                <a:r>
                  <a:rPr lang="en-US" sz="1000" b="1" dirty="0">
                    <a:solidFill>
                      <a:schemeClr val="accent1"/>
                    </a:solidFill>
                    <a:latin typeface="Catamaran"/>
                    <a:ea typeface="Catamaran"/>
                    <a:cs typeface="Catamaran"/>
                    <a:sym typeface="Catamaran"/>
                  </a:rPr>
                  <a:t>Output: </a:t>
                </a:r>
                <a:r>
                  <a:rPr lang="en-US" sz="1000" dirty="0">
                    <a:solidFill>
                      <a:schemeClr val="accent1"/>
                    </a:solidFill>
                    <a:latin typeface="Catamaran"/>
                    <a:ea typeface="Catamaran"/>
                    <a:cs typeface="Catamaran"/>
                    <a:sym typeface="Catamaran"/>
                  </a:rPr>
                  <a:t>Unlike traditional probabilistic predictors that issue a single probability, IVAPs produce </a:t>
                </a:r>
                <a:r>
                  <a:rPr lang="en-US" sz="1000" b="1" dirty="0">
                    <a:solidFill>
                      <a:schemeClr val="accent1"/>
                    </a:solidFill>
                    <a:latin typeface="Catamaran"/>
                    <a:ea typeface="Catamaran"/>
                    <a:cs typeface="Catamaran"/>
                    <a:sym typeface="Catamaran"/>
                  </a:rPr>
                  <a:t>multi-probabilistic predictions </a:t>
                </a:r>
                <a14:m>
                  <m:oMath xmlns:m="http://schemas.openxmlformats.org/officeDocument/2006/math">
                    <m:r>
                      <a:rPr lang="en-US" sz="100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Catamaran"/>
                        <a:cs typeface="Catamaran"/>
                        <a:sym typeface="Catamaran"/>
                      </a:rPr>
                      <m:t>[</m:t>
                    </m:r>
                    <m:sSub>
                      <m:sSubPr>
                        <m:ctrlPr>
                          <a:rPr lang="en-US" sz="100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  <a:sym typeface="Catamaran"/>
                          </a:rPr>
                        </m:ctrlPr>
                      </m:sSubPr>
                      <m:e>
                        <m:r>
                          <a:rPr lang="en-US" sz="1000" b="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  <a:sym typeface="Catamaran"/>
                          </a:rPr>
                          <m:t>𝑝</m:t>
                        </m:r>
                      </m:e>
                      <m:sub>
                        <m:r>
                          <a:rPr lang="en-US" sz="1000" b="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  <a:sym typeface="Catamaran"/>
                          </a:rPr>
                          <m:t>0</m:t>
                        </m:r>
                      </m:sub>
                    </m:sSub>
                    <m:r>
                      <a:rPr lang="en-US" sz="100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Catamaran"/>
                        <a:cs typeface="Catamaran"/>
                        <a:sym typeface="Catamaran"/>
                      </a:rPr>
                      <m:t>,</m:t>
                    </m:r>
                    <m:sSub>
                      <m:sSubPr>
                        <m:ctrlPr>
                          <a:rPr lang="en-US" sz="1000" i="1" dirty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  <a:sym typeface="Catamaran"/>
                          </a:rPr>
                        </m:ctrlPr>
                      </m:sSubPr>
                      <m:e>
                        <m:r>
                          <a:rPr lang="en-US" sz="1000" i="1" dirty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  <a:sym typeface="Catamaran"/>
                          </a:rPr>
                          <m:t>𝑝</m:t>
                        </m:r>
                      </m:e>
                      <m:sub>
                        <m:r>
                          <a:rPr lang="en-US" sz="1000" b="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  <a:sym typeface="Catamaran"/>
                          </a:rPr>
                          <m:t>1</m:t>
                        </m:r>
                      </m:sub>
                    </m:sSub>
                    <m:r>
                      <a:rPr lang="en-US" sz="100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Catamaran"/>
                        <a:cs typeface="Catamaran"/>
                        <a:sym typeface="Catamaran"/>
                      </a:rPr>
                      <m:t>]</m:t>
                    </m:r>
                  </m:oMath>
                </a14:m>
                <a:r>
                  <a:rPr lang="en-US" sz="1000" dirty="0">
                    <a:solidFill>
                      <a:schemeClr val="accent1"/>
                    </a:solidFill>
                    <a:latin typeface="Catamaran"/>
                    <a:ea typeface="Catamaran"/>
                    <a:cs typeface="Catamaran"/>
                    <a:sym typeface="Catamaran"/>
                  </a:rPr>
                  <a:t>.</a:t>
                </a:r>
                <a:endParaRPr lang="en-US" sz="1000" b="1" dirty="0">
                  <a:solidFill>
                    <a:schemeClr val="accent1"/>
                  </a:solidFill>
                  <a:latin typeface="Catamaran"/>
                  <a:ea typeface="Catamaran"/>
                  <a:cs typeface="Catamaran"/>
                  <a:sym typeface="Catamaran"/>
                </a:endParaRPr>
              </a:p>
              <a:p>
                <a:pPr marL="171450" lvl="0" indent="-171450" algn="just">
                  <a:buFont typeface="Arial" panose="020B0604020202020204" pitchFamily="34" charset="0"/>
                  <a:buChar char="•"/>
                </a:pPr>
                <a:endParaRPr lang="en-US" sz="1000" dirty="0">
                  <a:solidFill>
                    <a:schemeClr val="accent1"/>
                  </a:solidFill>
                  <a:latin typeface="Catamaran"/>
                  <a:ea typeface="Catamaran"/>
                  <a:cs typeface="Catamaran"/>
                  <a:sym typeface="Catamaran"/>
                </a:endParaRPr>
              </a:p>
              <a:p>
                <a:pPr marL="171450" lvl="0" indent="-171450" algn="just">
                  <a:buFont typeface="Arial" panose="020B0604020202020204" pitchFamily="34" charset="0"/>
                  <a:buChar char="•"/>
                </a:pPr>
                <a:r>
                  <a:rPr lang="en-US" sz="1000" b="1" dirty="0">
                    <a:solidFill>
                      <a:schemeClr val="accent1"/>
                    </a:solidFill>
                    <a:latin typeface="Catamaran"/>
                    <a:ea typeface="Catamaran"/>
                    <a:cs typeface="Catamaran"/>
                    <a:sym typeface="Catamaran"/>
                  </a:rPr>
                  <a:t>Theoretical Validity</a:t>
                </a:r>
                <a:r>
                  <a:rPr lang="en-US" sz="1000" dirty="0">
                    <a:solidFill>
                      <a:schemeClr val="accent1"/>
                    </a:solidFill>
                    <a:latin typeface="Catamaran"/>
                    <a:ea typeface="Catamaran"/>
                    <a:cs typeface="Catamaran"/>
                    <a:sym typeface="Catamaran"/>
                  </a:rPr>
                  <a:t>: Eithe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00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  <a:sym typeface="Catamaran"/>
                          </a:rPr>
                        </m:ctrlPr>
                      </m:sSubPr>
                      <m:e>
                        <m:r>
                          <a:rPr lang="en-US" sz="1000" b="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  <a:sym typeface="Catamaran"/>
                          </a:rPr>
                          <m:t>𝑝</m:t>
                        </m:r>
                      </m:e>
                      <m:sub>
                        <m:r>
                          <a:rPr lang="en-US" sz="1000" b="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  <a:sym typeface="Catamaran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sz="1000" dirty="0">
                    <a:solidFill>
                      <a:schemeClr val="accent1"/>
                    </a:solidFill>
                    <a:latin typeface="Catamaran"/>
                    <a:ea typeface="Catamaran"/>
                    <a:cs typeface="Catamaran"/>
                    <a:sym typeface="Catamaran"/>
                  </a:rPr>
                  <a:t> o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000" i="1" dirty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  <a:sym typeface="Catamaran"/>
                          </a:rPr>
                        </m:ctrlPr>
                      </m:sSubPr>
                      <m:e>
                        <m:r>
                          <a:rPr lang="en-US" sz="1000" i="1" dirty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  <a:sym typeface="Catamaran"/>
                          </a:rPr>
                          <m:t>𝑝</m:t>
                        </m:r>
                      </m:e>
                      <m:sub>
                        <m:r>
                          <a:rPr lang="en-US" sz="1000" b="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  <a:sym typeface="Catamaran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sz="1000" dirty="0">
                    <a:solidFill>
                      <a:schemeClr val="accent1"/>
                    </a:solidFill>
                    <a:latin typeface="Catamaran"/>
                    <a:ea typeface="Catamaran"/>
                    <a:cs typeface="Catamaran"/>
                    <a:sym typeface="Catamaran"/>
                  </a:rPr>
                  <a:t> is guaranteed to be </a:t>
                </a:r>
                <a:r>
                  <a:rPr lang="en-US" sz="1000" b="1" dirty="0">
                    <a:solidFill>
                      <a:schemeClr val="accent1"/>
                    </a:solidFill>
                    <a:latin typeface="Catamaran"/>
                    <a:ea typeface="Catamaran"/>
                    <a:cs typeface="Catamaran"/>
                    <a:sym typeface="Catamaran"/>
                  </a:rPr>
                  <a:t>perfectly calibrated</a:t>
                </a:r>
                <a:r>
                  <a:rPr lang="en-US" sz="1000" dirty="0">
                    <a:solidFill>
                      <a:schemeClr val="accent1"/>
                    </a:solidFill>
                    <a:latin typeface="Catamaran"/>
                    <a:ea typeface="Catamaran"/>
                    <a:cs typeface="Catamaran"/>
                    <a:sym typeface="Catamaran"/>
                  </a:rPr>
                  <a:t> under the </a:t>
                </a:r>
                <a:r>
                  <a:rPr lang="en-US" sz="1000" dirty="0" err="1">
                    <a:solidFill>
                      <a:schemeClr val="accent1"/>
                    </a:solidFill>
                    <a:latin typeface="Catamaran"/>
                    <a:ea typeface="Catamaran"/>
                    <a:cs typeface="Catamaran"/>
                    <a:sym typeface="Catamaran"/>
                  </a:rPr>
                  <a:t>i.i.d.</a:t>
                </a:r>
                <a:r>
                  <a:rPr lang="en-US" sz="1000" dirty="0">
                    <a:solidFill>
                      <a:schemeClr val="accent1"/>
                    </a:solidFill>
                    <a:latin typeface="Catamaran"/>
                    <a:ea typeface="Catamaran"/>
                    <a:cs typeface="Catamaran"/>
                    <a:sym typeface="Catamaran"/>
                  </a:rPr>
                  <a:t> assumption.</a:t>
                </a:r>
              </a:p>
              <a:p>
                <a:pPr marL="171450" lvl="0" indent="-171450" algn="just">
                  <a:buFont typeface="Arial" panose="020B0604020202020204" pitchFamily="34" charset="0"/>
                  <a:buChar char="•"/>
                </a:pPr>
                <a:endParaRPr lang="en-US" sz="1000" dirty="0">
                  <a:solidFill>
                    <a:schemeClr val="accent1"/>
                  </a:solidFill>
                  <a:latin typeface="Catamaran"/>
                  <a:cs typeface="Catamaran"/>
                </a:endParaRPr>
              </a:p>
              <a:p>
                <a:pPr lvl="0" algn="just"/>
                <a:r>
                  <a:rPr lang="en-US" sz="1000" b="1" dirty="0">
                    <a:solidFill>
                      <a:schemeClr val="accent1"/>
                    </a:solidFill>
                    <a:latin typeface="Catamaran"/>
                    <a:cs typeface="Catamaran"/>
                  </a:rPr>
                  <a:t>Algorithm</a:t>
                </a:r>
                <a:r>
                  <a:rPr lang="en-US" sz="1000" dirty="0">
                    <a:solidFill>
                      <a:schemeClr val="accent1"/>
                    </a:solidFill>
                    <a:latin typeface="Catamaran"/>
                    <a:cs typeface="Catamaran"/>
                  </a:rPr>
                  <a:t>:</a:t>
                </a:r>
              </a:p>
              <a:p>
                <a:pPr marL="228600" lvl="0" indent="-228600" algn="just">
                  <a:buFont typeface="+mj-lt"/>
                  <a:buAutoNum type="arabicPeriod"/>
                </a:pPr>
                <a:r>
                  <a:rPr lang="en-US" sz="1000" dirty="0">
                    <a:solidFill>
                      <a:schemeClr val="accent1"/>
                    </a:solidFill>
                    <a:latin typeface="Catamaran"/>
                    <a:cs typeface="Catamaran"/>
                  </a:rPr>
                  <a:t>Divide the training set of size l into two subsets, the </a:t>
                </a:r>
                <a:r>
                  <a:rPr lang="en-US" sz="1000" b="1" dirty="0">
                    <a:solidFill>
                      <a:schemeClr val="accent1"/>
                    </a:solidFill>
                    <a:latin typeface="Catamaran"/>
                    <a:cs typeface="Catamaran"/>
                  </a:rPr>
                  <a:t>proper training set </a:t>
                </a:r>
                <a:r>
                  <a:rPr lang="en-US" sz="1000" dirty="0">
                    <a:solidFill>
                      <a:schemeClr val="accent1"/>
                    </a:solidFill>
                    <a:latin typeface="Catamaran"/>
                    <a:cs typeface="Catamaran"/>
                  </a:rPr>
                  <a:t>of size </a:t>
                </a:r>
                <a14:m>
                  <m:oMath xmlns:m="http://schemas.openxmlformats.org/officeDocument/2006/math">
                    <m:r>
                      <a:rPr lang="en-US" sz="100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𝑚</m:t>
                    </m:r>
                  </m:oMath>
                </a14:m>
                <a:r>
                  <a:rPr lang="en-US" sz="1000" dirty="0">
                    <a:solidFill>
                      <a:schemeClr val="accent1"/>
                    </a:solidFill>
                    <a:latin typeface="Catamaran"/>
                    <a:cs typeface="Catamaran"/>
                  </a:rPr>
                  <a:t> and the </a:t>
                </a:r>
                <a:r>
                  <a:rPr lang="en-US" sz="1000" b="1" dirty="0">
                    <a:solidFill>
                      <a:schemeClr val="accent1"/>
                    </a:solidFill>
                    <a:latin typeface="Catamaran"/>
                    <a:cs typeface="Catamaran"/>
                  </a:rPr>
                  <a:t>calibration set </a:t>
                </a:r>
                <a:r>
                  <a:rPr lang="en-US" sz="1000" dirty="0">
                    <a:solidFill>
                      <a:schemeClr val="accent1"/>
                    </a:solidFill>
                    <a:latin typeface="Catamaran"/>
                    <a:cs typeface="Catamaran"/>
                  </a:rPr>
                  <a:t>of size </a:t>
                </a:r>
                <a14:m>
                  <m:oMath xmlns:m="http://schemas.openxmlformats.org/officeDocument/2006/math">
                    <m:r>
                      <a:rPr lang="en-US" sz="100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𝑘</m:t>
                    </m:r>
                  </m:oMath>
                </a14:m>
                <a:r>
                  <a:rPr lang="en-US" sz="1000" dirty="0">
                    <a:solidFill>
                      <a:schemeClr val="accent1"/>
                    </a:solidFill>
                    <a:latin typeface="Catamaran"/>
                    <a:cs typeface="Catamaran"/>
                  </a:rPr>
                  <a:t>, so that </a:t>
                </a:r>
                <a14:m>
                  <m:oMath xmlns:m="http://schemas.openxmlformats.org/officeDocument/2006/math">
                    <m:r>
                      <a:rPr lang="en-US" sz="100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𝑙</m:t>
                    </m:r>
                    <m:r>
                      <a:rPr lang="en-US" sz="100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 = </m:t>
                    </m:r>
                    <m:r>
                      <a:rPr lang="en-US" sz="100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𝑚</m:t>
                    </m:r>
                    <m:r>
                      <a:rPr lang="en-US" sz="100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 + </m:t>
                    </m:r>
                    <m:r>
                      <a:rPr lang="en-US" sz="100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𝑘</m:t>
                    </m:r>
                    <m:r>
                      <a:rPr lang="en-US" sz="100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.</m:t>
                    </m:r>
                  </m:oMath>
                </a14:m>
                <a:endParaRPr lang="en-US" sz="1000" dirty="0">
                  <a:solidFill>
                    <a:schemeClr val="accent1"/>
                  </a:solidFill>
                  <a:latin typeface="Catamaran"/>
                  <a:cs typeface="Catamaran"/>
                </a:endParaRPr>
              </a:p>
              <a:p>
                <a:pPr marL="228600" lvl="0" indent="-228600" algn="just">
                  <a:buFont typeface="+mj-lt"/>
                  <a:buAutoNum type="arabicPeriod"/>
                </a:pPr>
                <a:endParaRPr lang="en-US" sz="1000" dirty="0">
                  <a:solidFill>
                    <a:schemeClr val="accent1"/>
                  </a:solidFill>
                  <a:latin typeface="Catamaran"/>
                  <a:cs typeface="Catamaran"/>
                </a:endParaRPr>
              </a:p>
              <a:p>
                <a:pPr marL="228600" lvl="0" indent="-228600" algn="just">
                  <a:buFont typeface="+mj-lt"/>
                  <a:buAutoNum type="arabicPeriod"/>
                </a:pPr>
                <a:r>
                  <a:rPr lang="en-US" sz="1000" dirty="0">
                    <a:solidFill>
                      <a:schemeClr val="accent1"/>
                    </a:solidFill>
                    <a:latin typeface="Catamaran"/>
                    <a:cs typeface="Catamaran"/>
                  </a:rPr>
                  <a:t>Train the scoring algorithm on the proper training set</a:t>
                </a:r>
              </a:p>
              <a:p>
                <a:pPr marL="228600" lvl="0" indent="-228600" algn="just">
                  <a:buFont typeface="+mj-lt"/>
                  <a:buAutoNum type="arabicPeriod"/>
                </a:pPr>
                <a:endParaRPr lang="en-US" sz="1000" dirty="0">
                  <a:solidFill>
                    <a:schemeClr val="accent1"/>
                  </a:solidFill>
                  <a:latin typeface="Catamaran"/>
                  <a:cs typeface="Catamaran"/>
                </a:endParaRPr>
              </a:p>
              <a:p>
                <a:pPr marL="228600" lvl="0" indent="-228600" algn="just">
                  <a:buFont typeface="+mj-lt"/>
                  <a:buAutoNum type="arabicPeriod"/>
                </a:pPr>
                <a:r>
                  <a:rPr lang="en-US" sz="1000" dirty="0">
                    <a:solidFill>
                      <a:schemeClr val="accent1"/>
                    </a:solidFill>
                    <a:latin typeface="Catamaran"/>
                    <a:cs typeface="Catamaran"/>
                  </a:rPr>
                  <a:t>Find the score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00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</m:ctrlPr>
                      </m:sSubPr>
                      <m:e>
                        <m:r>
                          <a:rPr lang="en-US" sz="1000" b="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𝑠</m:t>
                        </m:r>
                      </m:e>
                      <m:sub>
                        <m:r>
                          <a:rPr lang="en-US" sz="1000" b="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1</m:t>
                        </m:r>
                      </m:sub>
                    </m:sSub>
                    <m:r>
                      <a:rPr lang="en-US" sz="100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, . . . ,</m:t>
                    </m:r>
                    <m:sSub>
                      <m:sSubPr>
                        <m:ctrlPr>
                          <a:rPr lang="en-US" sz="1000" i="1" dirty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</m:ctrlPr>
                      </m:sSubPr>
                      <m:e>
                        <m:r>
                          <a:rPr lang="en-US" sz="1000" i="1" dirty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𝑠</m:t>
                        </m:r>
                      </m:e>
                      <m:sub>
                        <m:r>
                          <a:rPr lang="en-US" sz="1000" b="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𝑘</m:t>
                        </m:r>
                      </m:sub>
                    </m:sSub>
                    <m:r>
                      <a:rPr lang="en-US" sz="100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 </m:t>
                    </m:r>
                  </m:oMath>
                </a14:m>
                <a:r>
                  <a:rPr lang="en-US" sz="1000" dirty="0">
                    <a:solidFill>
                      <a:schemeClr val="accent1"/>
                    </a:solidFill>
                    <a:latin typeface="Catamaran"/>
                    <a:cs typeface="Catamaran"/>
                  </a:rPr>
                  <a:t>of the calibration objects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000" i="1" dirty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</m:ctrlPr>
                      </m:sSubPr>
                      <m:e>
                        <m:r>
                          <a:rPr lang="en-US" sz="1000" b="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 </m:t>
                        </m:r>
                        <m:r>
                          <a:rPr lang="en-US" sz="1000" b="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𝑥</m:t>
                        </m:r>
                      </m:e>
                      <m:sub>
                        <m:r>
                          <a:rPr lang="en-US" sz="1000" i="1" dirty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1</m:t>
                        </m:r>
                      </m:sub>
                    </m:sSub>
                    <m:r>
                      <a:rPr lang="en-US" sz="1000" i="1" dirty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, . . . ,</m:t>
                    </m:r>
                    <m:sSub>
                      <m:sSubPr>
                        <m:ctrlPr>
                          <a:rPr lang="en-US" sz="1000" i="1" dirty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</m:ctrlPr>
                      </m:sSubPr>
                      <m:e>
                        <m:r>
                          <a:rPr lang="en-US" sz="1000" b="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𝑥</m:t>
                        </m:r>
                      </m:e>
                      <m:sub>
                        <m:r>
                          <a:rPr lang="en-US" sz="1000" i="1" dirty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𝑘</m:t>
                        </m:r>
                      </m:sub>
                    </m:sSub>
                  </m:oMath>
                </a14:m>
                <a:r>
                  <a:rPr lang="en-US" sz="1000" dirty="0">
                    <a:solidFill>
                      <a:schemeClr val="accent1"/>
                    </a:solidFill>
                    <a:latin typeface="Catamaran"/>
                    <a:cs typeface="Catamaran"/>
                  </a:rPr>
                  <a:t>.</a:t>
                </a:r>
              </a:p>
              <a:p>
                <a:pPr marL="228600" lvl="0" indent="-228600" algn="just">
                  <a:buFont typeface="+mj-lt"/>
                  <a:buAutoNum type="arabicPeriod"/>
                </a:pPr>
                <a:endParaRPr lang="en-US" sz="1000" dirty="0">
                  <a:solidFill>
                    <a:schemeClr val="accent1"/>
                  </a:solidFill>
                  <a:latin typeface="Catamaran"/>
                  <a:cs typeface="Catamaran"/>
                </a:endParaRPr>
              </a:p>
              <a:p>
                <a:pPr marL="228600" lvl="0" indent="-228600" algn="just">
                  <a:buFont typeface="+mj-lt"/>
                  <a:buAutoNum type="arabicPeriod"/>
                </a:pPr>
                <a:r>
                  <a:rPr lang="en-US" sz="1000" dirty="0">
                    <a:solidFill>
                      <a:schemeClr val="accent1"/>
                    </a:solidFill>
                    <a:latin typeface="Catamaran"/>
                    <a:cs typeface="Catamaran"/>
                  </a:rPr>
                  <a:t>When a new test object </a:t>
                </a:r>
                <a14:m>
                  <m:oMath xmlns:m="http://schemas.openxmlformats.org/officeDocument/2006/math">
                    <m:r>
                      <a:rPr lang="en-US" sz="100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𝑥</m:t>
                    </m:r>
                  </m:oMath>
                </a14:m>
                <a:r>
                  <a:rPr lang="en-US" sz="1000" dirty="0">
                    <a:solidFill>
                      <a:schemeClr val="accent1"/>
                    </a:solidFill>
                    <a:latin typeface="Catamaran"/>
                    <a:cs typeface="Catamaran"/>
                  </a:rPr>
                  <a:t> arrives, compute its score </a:t>
                </a:r>
                <a14:m>
                  <m:oMath xmlns:m="http://schemas.openxmlformats.org/officeDocument/2006/math">
                    <m:r>
                      <a:rPr lang="en-US" sz="100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𝑠</m:t>
                    </m:r>
                  </m:oMath>
                </a14:m>
                <a:r>
                  <a:rPr lang="en-US" sz="1000" dirty="0">
                    <a:solidFill>
                      <a:schemeClr val="accent1"/>
                    </a:solidFill>
                    <a:latin typeface="Catamaran"/>
                    <a:cs typeface="Catamaran"/>
                  </a:rPr>
                  <a:t>. Fit isotonic regression to </a:t>
                </a:r>
                <a14:m>
                  <m:oMath xmlns:m="http://schemas.openxmlformats.org/officeDocument/2006/math">
                    <m:r>
                      <a:rPr lang="en-US" sz="100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(</m:t>
                    </m:r>
                    <m:sSub>
                      <m:sSubPr>
                        <m:ctrlPr>
                          <a:rPr lang="en-US" sz="100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</m:ctrlPr>
                      </m:sSubPr>
                      <m:e>
                        <m:r>
                          <a:rPr lang="en-US" sz="1000" b="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𝑠</m:t>
                        </m:r>
                      </m:e>
                      <m:sub>
                        <m:r>
                          <a:rPr lang="en-US" sz="1000" b="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1</m:t>
                        </m:r>
                      </m:sub>
                    </m:sSub>
                    <m:r>
                      <a:rPr lang="en-US" sz="100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,</m:t>
                    </m:r>
                    <m:sSub>
                      <m:sSubPr>
                        <m:ctrlPr>
                          <a:rPr lang="en-US" sz="1000" i="1" dirty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</m:ctrlPr>
                      </m:sSubPr>
                      <m:e>
                        <m:r>
                          <a:rPr lang="en-US" sz="1000" b="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𝑦</m:t>
                        </m:r>
                      </m:e>
                      <m:sub>
                        <m:r>
                          <a:rPr lang="en-US" sz="1000" i="1" dirty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1</m:t>
                        </m:r>
                      </m:sub>
                    </m:sSub>
                    <m:r>
                      <a:rPr lang="en-US" sz="1000" i="1" dirty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), . . . ,(</m:t>
                    </m:r>
                    <m:sSub>
                      <m:sSubPr>
                        <m:ctrlPr>
                          <a:rPr lang="en-US" sz="1000" i="1" dirty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</m:ctrlPr>
                      </m:sSubPr>
                      <m:e>
                        <m:r>
                          <a:rPr lang="en-US" sz="1000" i="1" dirty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𝑠</m:t>
                        </m:r>
                      </m:e>
                      <m:sub>
                        <m:r>
                          <a:rPr lang="en-US" sz="1000" b="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𝑘</m:t>
                        </m:r>
                      </m:sub>
                    </m:sSub>
                    <m:r>
                      <a:rPr lang="en-US" sz="1000" i="1" dirty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,</m:t>
                    </m:r>
                    <m:sSub>
                      <m:sSubPr>
                        <m:ctrlPr>
                          <a:rPr lang="en-US" sz="1000" i="1" dirty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</m:ctrlPr>
                      </m:sSubPr>
                      <m:e>
                        <m:r>
                          <a:rPr lang="en-US" sz="1000" i="1" dirty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𝑦</m:t>
                        </m:r>
                      </m:e>
                      <m:sub>
                        <m:r>
                          <a:rPr lang="en-US" sz="1000" b="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𝑘</m:t>
                        </m:r>
                      </m:sub>
                    </m:sSub>
                    <m:r>
                      <a:rPr lang="en-US" sz="1000" i="1" dirty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)</m:t>
                    </m:r>
                    <m:r>
                      <a:rPr lang="en-US" sz="100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,(</m:t>
                    </m:r>
                    <m:r>
                      <a:rPr lang="en-US" sz="100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𝑠</m:t>
                    </m:r>
                    <m:r>
                      <a:rPr lang="en-US" sz="100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, 0) </m:t>
                    </m:r>
                  </m:oMath>
                </a14:m>
                <a:r>
                  <a:rPr lang="en-US" sz="1000" dirty="0">
                    <a:solidFill>
                      <a:schemeClr val="accent1"/>
                    </a:solidFill>
                    <a:latin typeface="Catamaran"/>
                    <a:cs typeface="Catamaran"/>
                  </a:rPr>
                  <a:t>obtaining a functio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000" i="1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</m:ctrlPr>
                      </m:sSubPr>
                      <m:e>
                        <m:r>
                          <a:rPr lang="en-US" sz="1000" i="1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𝑓</m:t>
                        </m:r>
                      </m:e>
                      <m:sub>
                        <m:r>
                          <a:rPr lang="en-US" sz="1000" i="1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sz="1000" dirty="0">
                    <a:solidFill>
                      <a:schemeClr val="accent1"/>
                    </a:solidFill>
                    <a:latin typeface="Catamaran"/>
                    <a:cs typeface="Catamaran"/>
                  </a:rPr>
                  <a:t>. Fit isotonic regression to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sz="1000" i="1" dirty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sz="1000" i="1" dirty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cs typeface="Catamaran"/>
                              </a:rPr>
                            </m:ctrlPr>
                          </m:sSubPr>
                          <m:e>
                            <m:r>
                              <a:rPr lang="en-US" sz="1000" i="1" dirty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cs typeface="Catamaran"/>
                              </a:rPr>
                              <m:t>𝑠</m:t>
                            </m:r>
                          </m:e>
                          <m:sub>
                            <m:r>
                              <a:rPr lang="en-US" sz="1000" i="1" dirty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cs typeface="Catamaran"/>
                              </a:rPr>
                              <m:t>1</m:t>
                            </m:r>
                          </m:sub>
                        </m:sSub>
                        <m:r>
                          <a:rPr lang="en-US" sz="1000" i="1" dirty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,</m:t>
                        </m:r>
                        <m:sSub>
                          <m:sSubPr>
                            <m:ctrlPr>
                              <a:rPr lang="en-US" sz="1000" i="1" dirty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cs typeface="Catamaran"/>
                              </a:rPr>
                            </m:ctrlPr>
                          </m:sSubPr>
                          <m:e>
                            <m:r>
                              <a:rPr lang="en-US" sz="1000" i="1" dirty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cs typeface="Catamaran"/>
                              </a:rPr>
                              <m:t>𝑦</m:t>
                            </m:r>
                          </m:e>
                          <m:sub>
                            <m:r>
                              <a:rPr lang="en-US" sz="1000" i="1" dirty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cs typeface="Catamaran"/>
                              </a:rPr>
                              <m:t>1</m:t>
                            </m:r>
                          </m:sub>
                        </m:sSub>
                      </m:e>
                    </m:d>
                    <m:r>
                      <a:rPr lang="en-US" sz="1000" i="1" dirty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, . . . ,</m:t>
                    </m:r>
                    <m:d>
                      <m:dPr>
                        <m:ctrlPr>
                          <a:rPr lang="en-US" sz="1000" i="1" dirty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sz="1000" i="1" dirty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cs typeface="Catamaran"/>
                              </a:rPr>
                            </m:ctrlPr>
                          </m:sSubPr>
                          <m:e>
                            <m:r>
                              <a:rPr lang="en-US" sz="1000" i="1" dirty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cs typeface="Catamaran"/>
                              </a:rPr>
                              <m:t>𝑠</m:t>
                            </m:r>
                          </m:e>
                          <m:sub>
                            <m:r>
                              <a:rPr lang="en-US" sz="1000" i="1" dirty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cs typeface="Catamaran"/>
                              </a:rPr>
                              <m:t>𝑘</m:t>
                            </m:r>
                          </m:sub>
                        </m:sSub>
                        <m:r>
                          <a:rPr lang="en-US" sz="1000" i="1" dirty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,</m:t>
                        </m:r>
                        <m:sSub>
                          <m:sSubPr>
                            <m:ctrlPr>
                              <a:rPr lang="en-US" sz="1000" i="1" dirty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cs typeface="Catamaran"/>
                              </a:rPr>
                            </m:ctrlPr>
                          </m:sSubPr>
                          <m:e>
                            <m:r>
                              <a:rPr lang="en-US" sz="1000" i="1" dirty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cs typeface="Catamaran"/>
                              </a:rPr>
                              <m:t>𝑦</m:t>
                            </m:r>
                          </m:e>
                          <m:sub>
                            <m:r>
                              <a:rPr lang="en-US" sz="1000" i="1" dirty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cs typeface="Catamaran"/>
                              </a:rPr>
                              <m:t>𝑘</m:t>
                            </m:r>
                          </m:sub>
                        </m:sSub>
                      </m:e>
                    </m:d>
                    <m:r>
                      <a:rPr lang="en-US" sz="1000" i="1" dirty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,</m:t>
                    </m:r>
                    <m:d>
                      <m:dPr>
                        <m:ctrlPr>
                          <a:rPr lang="en-US" sz="1000" i="1" dirty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</m:ctrlPr>
                      </m:dPr>
                      <m:e>
                        <m:r>
                          <a:rPr lang="en-US" sz="1000" i="1" dirty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𝑠</m:t>
                        </m:r>
                        <m:r>
                          <a:rPr lang="en-US" sz="1000" i="1" dirty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, 1</m:t>
                        </m:r>
                      </m:e>
                    </m:d>
                    <m:r>
                      <a:rPr lang="en-US" sz="1000" b="0" i="0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 </m:t>
                    </m:r>
                  </m:oMath>
                </a14:m>
                <a:r>
                  <a:rPr lang="en-US" sz="1000" dirty="0">
                    <a:solidFill>
                      <a:schemeClr val="accent1"/>
                    </a:solidFill>
                    <a:latin typeface="Catamaran"/>
                    <a:cs typeface="Catamaran"/>
                  </a:rPr>
                  <a:t>obtaining a functio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000" i="1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</m:ctrlPr>
                      </m:sSubPr>
                      <m:e>
                        <m:r>
                          <a:rPr lang="en-US" sz="1000" i="1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𝑓</m:t>
                        </m:r>
                      </m:e>
                      <m:sub>
                        <m:r>
                          <a:rPr lang="en-US" sz="1000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sz="1000" dirty="0">
                    <a:solidFill>
                      <a:schemeClr val="accent1"/>
                    </a:solidFill>
                    <a:latin typeface="Catamaran"/>
                    <a:cs typeface="Catamaran"/>
                  </a:rPr>
                  <a:t>. The </a:t>
                </a:r>
                <a:r>
                  <a:rPr lang="en-US" sz="1000" dirty="0" err="1">
                    <a:solidFill>
                      <a:schemeClr val="accent1"/>
                    </a:solidFill>
                    <a:latin typeface="Catamaran"/>
                    <a:cs typeface="Catamaran"/>
                  </a:rPr>
                  <a:t>multiprobability</a:t>
                </a:r>
                <a:r>
                  <a:rPr lang="en-US" sz="1000" dirty="0">
                    <a:solidFill>
                      <a:schemeClr val="accent1"/>
                    </a:solidFill>
                    <a:latin typeface="Catamaran"/>
                    <a:cs typeface="Catamaran"/>
                  </a:rPr>
                  <a:t> prediction for the label </a:t>
                </a:r>
                <a14:m>
                  <m:oMath xmlns:m="http://schemas.openxmlformats.org/officeDocument/2006/math">
                    <m:r>
                      <a:rPr lang="en-US" sz="100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𝑦</m:t>
                    </m:r>
                  </m:oMath>
                </a14:m>
                <a:r>
                  <a:rPr lang="en-US" sz="1000" dirty="0">
                    <a:solidFill>
                      <a:schemeClr val="accent1"/>
                    </a:solidFill>
                    <a:latin typeface="Catamaran"/>
                    <a:cs typeface="Catamaran"/>
                  </a:rPr>
                  <a:t> of </a:t>
                </a:r>
                <a14:m>
                  <m:oMath xmlns:m="http://schemas.openxmlformats.org/officeDocument/2006/math">
                    <m:r>
                      <a:rPr lang="en-US" sz="100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𝑥</m:t>
                    </m:r>
                    <m:r>
                      <a:rPr lang="en-US" sz="100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 </m:t>
                    </m:r>
                  </m:oMath>
                </a14:m>
                <a:r>
                  <a:rPr lang="en-US" sz="1000" dirty="0">
                    <a:solidFill>
                      <a:schemeClr val="accent1"/>
                    </a:solidFill>
                    <a:latin typeface="Catamaran"/>
                    <a:cs typeface="Catamaran"/>
                  </a:rPr>
                  <a:t>is the pair </a:t>
                </a:r>
                <a14:m>
                  <m:oMath xmlns:m="http://schemas.openxmlformats.org/officeDocument/2006/math">
                    <m:r>
                      <a:rPr lang="en-US" sz="100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(</m:t>
                    </m:r>
                    <m:sSub>
                      <m:sSubPr>
                        <m:ctrlPr>
                          <a:rPr lang="en-US" sz="100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</m:ctrlPr>
                      </m:sSubPr>
                      <m:e>
                        <m:r>
                          <a:rPr lang="en-US" sz="1000" b="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𝑝</m:t>
                        </m:r>
                      </m:e>
                      <m:sub>
                        <m:r>
                          <a:rPr lang="en-US" sz="1000" b="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0</m:t>
                        </m:r>
                      </m:sub>
                    </m:sSub>
                    <m:r>
                      <a:rPr lang="en-US" sz="100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,</m:t>
                    </m:r>
                    <m:sSub>
                      <m:sSubPr>
                        <m:ctrlPr>
                          <a:rPr lang="en-US" sz="1000" i="1" dirty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</m:ctrlPr>
                      </m:sSubPr>
                      <m:e>
                        <m:r>
                          <a:rPr lang="en-US" sz="1000" i="1" dirty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𝑝</m:t>
                        </m:r>
                      </m:e>
                      <m:sub>
                        <m:r>
                          <a:rPr lang="en-US" sz="1000" b="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1</m:t>
                        </m:r>
                      </m:sub>
                    </m:sSub>
                    <m:r>
                      <a:rPr lang="en-US" sz="100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) :=(</m:t>
                    </m:r>
                    <m:sSub>
                      <m:sSubPr>
                        <m:ctrlPr>
                          <a:rPr lang="en-US" sz="1000" i="1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</m:ctrlPr>
                      </m:sSubPr>
                      <m:e>
                        <m:r>
                          <a:rPr lang="en-US" sz="1000" i="1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𝑓</m:t>
                        </m:r>
                      </m:e>
                      <m:sub>
                        <m:r>
                          <a:rPr lang="en-US" sz="1000" i="1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0</m:t>
                        </m:r>
                      </m:sub>
                    </m:sSub>
                    <m:r>
                      <m:rPr>
                        <m:nor/>
                      </m:rPr>
                      <a:rPr lang="en-US" sz="1000" dirty="0">
                        <a:solidFill>
                          <a:schemeClr val="accent1"/>
                        </a:solidFill>
                        <a:latin typeface="Catamaran"/>
                        <a:cs typeface="Catamaran"/>
                      </a:rPr>
                      <m:t>(</m:t>
                    </m:r>
                    <m:r>
                      <a:rPr lang="en-US" sz="1000" i="1" dirty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𝑠</m:t>
                    </m:r>
                    <m:r>
                      <m:rPr>
                        <m:nor/>
                      </m:rPr>
                      <a:rPr lang="en-US" sz="1000" dirty="0">
                        <a:solidFill>
                          <a:schemeClr val="accent1"/>
                        </a:solidFill>
                        <a:latin typeface="Catamaran"/>
                        <a:cs typeface="Catamaran"/>
                      </a:rPr>
                      <m:t>)</m:t>
                    </m:r>
                    <m:r>
                      <a:rPr lang="en-US" sz="100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,</m:t>
                    </m:r>
                    <m:sSub>
                      <m:sSubPr>
                        <m:ctrlPr>
                          <a:rPr lang="en-US" sz="1000" i="1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</m:ctrlPr>
                      </m:sSubPr>
                      <m:e>
                        <m:r>
                          <a:rPr lang="en-US" sz="1000" i="1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𝑓</m:t>
                        </m:r>
                      </m:e>
                      <m:sub>
                        <m:r>
                          <a:rPr lang="en-US" sz="1000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</a:rPr>
                          <m:t>1</m:t>
                        </m:r>
                      </m:sub>
                    </m:sSub>
                    <m:r>
                      <m:rPr>
                        <m:nor/>
                      </m:rPr>
                      <a:rPr lang="en-US" sz="1000" dirty="0">
                        <a:solidFill>
                          <a:schemeClr val="accent1"/>
                        </a:solidFill>
                        <a:latin typeface="Catamaran"/>
                        <a:cs typeface="Catamaran"/>
                      </a:rPr>
                      <m:t>(</m:t>
                    </m:r>
                    <m:r>
                      <a:rPr lang="en-US" sz="1000" i="1" dirty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𝑠</m:t>
                    </m:r>
                    <m:r>
                      <m:rPr>
                        <m:nor/>
                      </m:rPr>
                      <a:rPr lang="en-US" sz="1000" dirty="0">
                        <a:solidFill>
                          <a:schemeClr val="accent1"/>
                        </a:solidFill>
                        <a:latin typeface="Catamaran"/>
                        <a:cs typeface="Catamaran"/>
                      </a:rPr>
                      <m:t>)</m:t>
                    </m:r>
                    <m:r>
                      <a:rPr lang="en-US" sz="100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</a:rPr>
                      <m:t>)</m:t>
                    </m:r>
                  </m:oMath>
                </a14:m>
                <a:r>
                  <a:rPr lang="en-US" sz="1000" dirty="0">
                    <a:solidFill>
                      <a:schemeClr val="accent1"/>
                    </a:solidFill>
                    <a:latin typeface="Catamaran"/>
                    <a:cs typeface="Catamaran"/>
                  </a:rPr>
                  <a:t>.</a:t>
                </a:r>
              </a:p>
              <a:p>
                <a:pPr lvl="0" algn="just"/>
                <a:endParaRPr lang="en-US" sz="1000" dirty="0">
                  <a:solidFill>
                    <a:schemeClr val="accent1"/>
                  </a:solidFill>
                  <a:latin typeface="Catamaran"/>
                  <a:cs typeface="Catamaran"/>
                </a:endParaRPr>
              </a:p>
              <a:p>
                <a:pPr marL="228600" lvl="0" indent="-228600" algn="just">
                  <a:buFont typeface="+mj-lt"/>
                  <a:buAutoNum type="arabicPeriod"/>
                </a:pPr>
                <a:endParaRPr lang="en-US" sz="1000" dirty="0">
                  <a:solidFill>
                    <a:schemeClr val="accent1"/>
                  </a:solidFill>
                  <a:latin typeface="Catamaran"/>
                  <a:cs typeface="Catamaran"/>
                </a:endParaRPr>
              </a:p>
              <a:p>
                <a:pPr lvl="0" algn="just"/>
                <a:endParaRPr lang="en-US" sz="1000" dirty="0">
                  <a:solidFill>
                    <a:schemeClr val="accent1"/>
                  </a:solidFill>
                  <a:latin typeface="Catamaran"/>
                  <a:cs typeface="Catamaran"/>
                </a:endParaRPr>
              </a:p>
            </p:txBody>
          </p:sp>
        </mc:Choice>
        <mc:Fallback xmlns="">
          <p:sp>
            <p:nvSpPr>
              <p:cNvPr id="18" name="Google Shape;73;p7">
                <a:extLst>
                  <a:ext uri="{FF2B5EF4-FFF2-40B4-BE49-F238E27FC236}">
                    <a16:creationId xmlns:a16="http://schemas.microsoft.com/office/drawing/2014/main" id="{A062E98F-3CBF-0FB9-2B9A-80B19D4A264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8136" y="851794"/>
                <a:ext cx="4107454" cy="3538579"/>
              </a:xfrm>
              <a:prstGeom prst="rect">
                <a:avLst/>
              </a:prstGeom>
              <a:blipFill>
                <a:blip r:embed="rId3"/>
                <a:stretch>
                  <a:fillRect l="-148"/>
                </a:stretch>
              </a:blipFill>
              <a:ln>
                <a:solidFill>
                  <a:srgbClr val="C0000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Google Shape;73;p7">
                <a:extLst>
                  <a:ext uri="{FF2B5EF4-FFF2-40B4-BE49-F238E27FC236}">
                    <a16:creationId xmlns:a16="http://schemas.microsoft.com/office/drawing/2014/main" id="{86A6C2DE-028B-9297-BDF4-DC9616CAE2C0}"/>
                  </a:ext>
                </a:extLst>
              </p:cNvPr>
              <p:cNvSpPr txBox="1"/>
              <p:nvPr/>
            </p:nvSpPr>
            <p:spPr>
              <a:xfrm>
                <a:off x="5672202" y="3988340"/>
                <a:ext cx="2932993" cy="804066"/>
              </a:xfrm>
              <a:prstGeom prst="rect">
                <a:avLst/>
              </a:prstGeom>
              <a:noFill/>
              <a:ln>
                <a:solidFill>
                  <a:srgbClr val="C00000"/>
                </a:solidFill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lvl="0" algn="just" rtl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000" dirty="0">
                    <a:solidFill>
                      <a:schemeClr val="accent1"/>
                    </a:solidFill>
                    <a:latin typeface="Catamaran"/>
                    <a:ea typeface="Catamaran"/>
                    <a:cs typeface="Catamaran"/>
                    <a:sym typeface="Catamaran"/>
                  </a:rPr>
                  <a:t>Using </a:t>
                </a:r>
                <a:r>
                  <a:rPr lang="en-US" sz="1000" i="1" dirty="0">
                    <a:solidFill>
                      <a:schemeClr val="accent1"/>
                    </a:solidFill>
                    <a:latin typeface="Catamaran"/>
                    <a:ea typeface="Catamaran"/>
                    <a:cs typeface="Catamaran"/>
                    <a:sym typeface="Catamaran"/>
                  </a:rPr>
                  <a:t>log loss </a:t>
                </a:r>
                <a:r>
                  <a:rPr lang="en-US" sz="1000" dirty="0">
                    <a:solidFill>
                      <a:schemeClr val="accent1"/>
                    </a:solidFill>
                    <a:latin typeface="Catamaran"/>
                    <a:ea typeface="Catamaran"/>
                    <a:cs typeface="Catamaran"/>
                    <a:sym typeface="Catamaran"/>
                  </a:rPr>
                  <a:t>corresponding</a:t>
                </a:r>
                <a:r>
                  <a:rPr lang="en-US" sz="1000" i="1" dirty="0">
                    <a:solidFill>
                      <a:schemeClr val="accent1"/>
                    </a:solidFill>
                    <a:latin typeface="Catamaran"/>
                    <a:ea typeface="Catamaran"/>
                    <a:cs typeface="Catamaran"/>
                    <a:sym typeface="Catamaran"/>
                  </a:rPr>
                  <a:t> </a:t>
                </a:r>
                <a:r>
                  <a:rPr lang="en-US" sz="1000" dirty="0">
                    <a:solidFill>
                      <a:schemeClr val="accent1"/>
                    </a:solidFill>
                    <a:latin typeface="Catamaran"/>
                    <a:ea typeface="Catamaran"/>
                    <a:cs typeface="Catamaran"/>
                    <a:sym typeface="Catamaran"/>
                  </a:rPr>
                  <a:t>minimax probabilistic prediction </a:t>
                </a:r>
                <a14:m>
                  <m:oMath xmlns:m="http://schemas.openxmlformats.org/officeDocument/2006/math">
                    <m:r>
                      <a:rPr lang="en-US" sz="100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Catamaran"/>
                        <a:cs typeface="Catamaran"/>
                        <a:sym typeface="Catamaran"/>
                      </a:rPr>
                      <m:t>𝑝</m:t>
                    </m:r>
                  </m:oMath>
                </a14:m>
                <a:r>
                  <a:rPr lang="en-US" sz="1000" i="1" dirty="0">
                    <a:solidFill>
                      <a:schemeClr val="accent1"/>
                    </a:solidFill>
                    <a:latin typeface="Catamaran"/>
                    <a:ea typeface="Catamaran"/>
                    <a:cs typeface="Catamaran"/>
                    <a:sym typeface="Catamaran"/>
                  </a:rPr>
                  <a:t> </a:t>
                </a:r>
                <a:r>
                  <a:rPr lang="en-US" sz="1000" dirty="0">
                    <a:solidFill>
                      <a:schemeClr val="accent1"/>
                    </a:solidFill>
                    <a:latin typeface="Catamaran"/>
                    <a:ea typeface="Catamaran"/>
                    <a:cs typeface="Catamaran"/>
                    <a:sym typeface="Catamaran"/>
                  </a:rPr>
                  <a:t>is:</a:t>
                </a:r>
              </a:p>
              <a:p>
                <a:pPr lvl="0" algn="just" rtl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000" i="1" dirty="0">
                    <a:solidFill>
                      <a:schemeClr val="accent1"/>
                    </a:solidFill>
                    <a:latin typeface="Catamaran"/>
                    <a:ea typeface="Catamaran"/>
                    <a:cs typeface="Catamaran"/>
                    <a:sym typeface="Catamaran"/>
                  </a:rPr>
                  <a:t>	 </a:t>
                </a:r>
                <a14:m>
                  <m:oMath xmlns:m="http://schemas.openxmlformats.org/officeDocument/2006/math">
                    <m:r>
                      <a:rPr lang="en-US" b="0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  <a:sym typeface="Catamaran"/>
                      </a:rPr>
                      <m:t>𝑝</m:t>
                    </m:r>
                    <m:r>
                      <a:rPr lang="en-US" b="0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cs typeface="Catamaran"/>
                        <a:sym typeface="Catamaran"/>
                      </a:rPr>
                      <m:t>=</m:t>
                    </m:r>
                    <m:f>
                      <m:fPr>
                        <m:ctrlPr>
                          <a:rPr lang="en-US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  <a:sym typeface="Catamaran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cs typeface="Catamaran"/>
                                <a:sym typeface="Catamaran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cs typeface="Catamaran"/>
                                <a:sym typeface="Catamaran"/>
                              </a:rPr>
                              <m:t>𝑝</m:t>
                            </m:r>
                          </m:e>
                          <m:sub>
                            <m:r>
                              <a:rPr lang="en-US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cs typeface="Catamaran"/>
                                <a:sym typeface="Catamaran"/>
                              </a:rPr>
                              <m:t>1</m:t>
                            </m:r>
                          </m:sub>
                        </m:sSub>
                      </m:num>
                      <m:den>
                        <m:r>
                          <a:rPr lang="en-US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  <a:sym typeface="Catamaran"/>
                          </a:rPr>
                          <m:t>1−</m:t>
                        </m:r>
                        <m:sSub>
                          <m:sSubPr>
                            <m:ctrlPr>
                              <a:rPr lang="en-US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cs typeface="Catamaran"/>
                                <a:sym typeface="Catamaran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cs typeface="Catamaran"/>
                                <a:sym typeface="Catamaran"/>
                              </a:rPr>
                              <m:t>𝑝</m:t>
                            </m:r>
                          </m:e>
                          <m:sub>
                            <m:r>
                              <a:rPr lang="en-US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cs typeface="Catamaran"/>
                                <a:sym typeface="Catamaran"/>
                              </a:rPr>
                              <m:t>0</m:t>
                            </m:r>
                          </m:sub>
                        </m:sSub>
                        <m:r>
                          <a:rPr lang="en-US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cs typeface="Catamaran"/>
                            <a:sym typeface="Catamaran"/>
                          </a:rPr>
                          <m:t>+</m:t>
                        </m:r>
                        <m:sSub>
                          <m:sSubPr>
                            <m:ctrlPr>
                              <a:rPr lang="en-US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cs typeface="Catamaran"/>
                                <a:sym typeface="Catamaran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cs typeface="Catamaran"/>
                                <a:sym typeface="Catamaran"/>
                              </a:rPr>
                              <m:t>𝑝</m:t>
                            </m:r>
                          </m:e>
                          <m:sub>
                            <m:r>
                              <a:rPr lang="en-US" b="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cs typeface="Catamaran"/>
                                <a:sym typeface="Catamaran"/>
                              </a:rPr>
                              <m:t>1</m:t>
                            </m:r>
                          </m:sub>
                        </m:sSub>
                      </m:den>
                    </m:f>
                  </m:oMath>
                </a14:m>
                <a:endParaRPr lang="en-US" i="1" dirty="0">
                  <a:solidFill>
                    <a:schemeClr val="accent1"/>
                  </a:solidFill>
                  <a:latin typeface="Catamaran"/>
                  <a:ea typeface="Catamaran"/>
                  <a:cs typeface="Catamaran"/>
                  <a:sym typeface="Catamaran"/>
                </a:endParaRPr>
              </a:p>
            </p:txBody>
          </p:sp>
        </mc:Choice>
        <mc:Fallback xmlns="">
          <p:sp>
            <p:nvSpPr>
              <p:cNvPr id="2" name="Google Shape;73;p7">
                <a:extLst>
                  <a:ext uri="{FF2B5EF4-FFF2-40B4-BE49-F238E27FC236}">
                    <a16:creationId xmlns:a16="http://schemas.microsoft.com/office/drawing/2014/main" id="{86A6C2DE-028B-9297-BDF4-DC9616CAE2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72202" y="3988340"/>
                <a:ext cx="2932993" cy="804066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  <a:ln>
                <a:solidFill>
                  <a:srgbClr val="C0000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9" name="Picture 8">
            <a:extLst>
              <a:ext uri="{FF2B5EF4-FFF2-40B4-BE49-F238E27FC236}">
                <a16:creationId xmlns:a16="http://schemas.microsoft.com/office/drawing/2014/main" id="{2E05719C-1133-B4E1-0C0B-86E4785ED80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13002" y="953227"/>
            <a:ext cx="4572000" cy="2945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93901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MGWzbiTuxWVg6rFPhYq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MGWzbiTuxWVg6rFPhYq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MGWzbiTuxWVg6rFPhYq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MGWzbiTuxWVg6rFPhYq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MGWzbiTuxWVg6rFPhYq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MGWzbiTuxWVg6rFPhYq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MGWzbiTuxWVg6rFPhYq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MGWzbiTuxWVg6rFPhYq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MGWzbiTuxWVg6rFPhYq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MGWzbiTuxWVg6rFPhYq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MGWzbiTuxWVg6rFPhYq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.5HlxMwvZ0DOI9BFvew"/>
</p:tagLst>
</file>

<file path=ppt/theme/theme1.xml><?xml version="1.0" encoding="utf-8"?>
<a:theme xmlns:a="http://schemas.openxmlformats.org/drawingml/2006/main" name="Streamline">
  <a:themeElements>
    <a:clrScheme name="Streamline">
      <a:dk1>
        <a:srgbClr val="1A9988"/>
      </a:dk1>
      <a:lt1>
        <a:srgbClr val="FFFFFF"/>
      </a:lt1>
      <a:dk2>
        <a:srgbClr val="1A1A1A"/>
      </a:dk2>
      <a:lt2>
        <a:srgbClr val="E9EDEE"/>
      </a:lt2>
      <a:accent1>
        <a:srgbClr val="595959"/>
      </a:accent1>
      <a:accent2>
        <a:srgbClr val="6AA4C8"/>
      </a:accent2>
      <a:accent3>
        <a:srgbClr val="EB5600"/>
      </a:accent3>
      <a:accent4>
        <a:srgbClr val="A2FFE8"/>
      </a:accent4>
      <a:accent5>
        <a:srgbClr val="1C3678"/>
      </a:accent5>
      <a:accent6>
        <a:srgbClr val="FFB8A2"/>
      </a:accent6>
      <a:hlink>
        <a:srgbClr val="1C3678"/>
      </a:hlink>
      <a:folHlink>
        <a:srgbClr val="1C3678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27</TotalTime>
  <Words>3623</Words>
  <Application>Microsoft Office PowerPoint</Application>
  <PresentationFormat>On-screen Show (16:9)</PresentationFormat>
  <Paragraphs>909</Paragraphs>
  <Slides>31</Slides>
  <Notes>31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38" baseType="lpstr">
      <vt:lpstr>Raleway</vt:lpstr>
      <vt:lpstr>Cambria Math</vt:lpstr>
      <vt:lpstr>Catamaran</vt:lpstr>
      <vt:lpstr>Consolas</vt:lpstr>
      <vt:lpstr>Arial</vt:lpstr>
      <vt:lpstr>Segoe UI</vt:lpstr>
      <vt:lpstr>Streamline</vt:lpstr>
      <vt:lpstr>The Importance of Being Calibrated: A Study on Probability Calibration and Interval Estimation for Binary Classification</vt:lpstr>
      <vt:lpstr>Agenda</vt:lpstr>
      <vt:lpstr>Introduction &amp; Motivation: Can We Trust a Model's Confidence?</vt:lpstr>
      <vt:lpstr>Agenda</vt:lpstr>
      <vt:lpstr>PowerPoint Presentation</vt:lpstr>
      <vt:lpstr>Agenda</vt:lpstr>
      <vt:lpstr>PowerPoint Presentation</vt:lpstr>
      <vt:lpstr>PowerPoint Presentation</vt:lpstr>
      <vt:lpstr>PowerPoint Presentation</vt:lpstr>
      <vt:lpstr>PowerPoint Presentation</vt:lpstr>
      <vt:lpstr>Agenda</vt:lpstr>
      <vt:lpstr>PowerPoint Presentation</vt:lpstr>
      <vt:lpstr>Agenda</vt:lpstr>
      <vt:lpstr>PowerPoint Presentation</vt:lpstr>
      <vt:lpstr>PowerPoint Presentation</vt:lpstr>
      <vt:lpstr>Agenda</vt:lpstr>
      <vt:lpstr>PowerPoint Presentation</vt:lpstr>
      <vt:lpstr>PowerPoint Presentation</vt:lpstr>
      <vt:lpstr>PowerPoint Presentation</vt:lpstr>
      <vt:lpstr>Agenda</vt:lpstr>
      <vt:lpstr>PowerPoint Presentation</vt:lpstr>
      <vt:lpstr>Agenda</vt:lpstr>
      <vt:lpstr>PowerPoint Presentation</vt:lpstr>
      <vt:lpstr>PowerPoint Presentation</vt:lpstr>
      <vt:lpstr>Agenda</vt:lpstr>
      <vt:lpstr>PowerPoint Presentation</vt:lpstr>
      <vt:lpstr>Agenda</vt:lpstr>
      <vt:lpstr>PowerPoint Presentation</vt:lpstr>
      <vt:lpstr>Agenda</vt:lpstr>
      <vt:lpstr>PowerPoint Presentation</vt:lpstr>
      <vt:lpstr>Thank you for the attention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cp:lastModifiedBy>Sandro Khizanishvili</cp:lastModifiedBy>
  <cp:revision>80</cp:revision>
  <dcterms:modified xsi:type="dcterms:W3CDTF">2025-09-14T23:16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LPManualFileClassification">
    <vt:lpwstr>{4D5F5C65-5A8A-40C0-871B-B28632C08195}</vt:lpwstr>
  </property>
  <property fmtid="{D5CDD505-2E9C-101B-9397-08002B2CF9AE}" pid="3" name="DLPManualFileClassificationLastModifiedBy">
    <vt:lpwstr>BOG0\skhizanishvili</vt:lpwstr>
  </property>
  <property fmtid="{D5CDD505-2E9C-101B-9397-08002B2CF9AE}" pid="4" name="DLPManualFileClassificationLastModificationDate">
    <vt:lpwstr>1734010669</vt:lpwstr>
  </property>
  <property fmtid="{D5CDD505-2E9C-101B-9397-08002B2CF9AE}" pid="5" name="DLPManualFileClassificationVersion">
    <vt:lpwstr>11.11.0.138</vt:lpwstr>
  </property>
</Properties>
</file>